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09" r:id="rId4"/>
    <p:sldMasterId id="2147483977" r:id="rId5"/>
    <p:sldMasterId id="2147483989" r:id="rId6"/>
    <p:sldMasterId id="2147484404" r:id="rId7"/>
  </p:sldMasterIdLst>
  <p:notesMasterIdLst>
    <p:notesMasterId r:id="rId20"/>
  </p:notesMasterIdLst>
  <p:handoutMasterIdLst>
    <p:handoutMasterId r:id="rId21"/>
  </p:handoutMasterIdLst>
  <p:sldIdLst>
    <p:sldId id="310" r:id="rId8"/>
    <p:sldId id="403" r:id="rId9"/>
    <p:sldId id="404" r:id="rId10"/>
    <p:sldId id="389" r:id="rId11"/>
    <p:sldId id="390" r:id="rId12"/>
    <p:sldId id="402" r:id="rId13"/>
    <p:sldId id="398" r:id="rId14"/>
    <p:sldId id="396" r:id="rId15"/>
    <p:sldId id="388" r:id="rId16"/>
    <p:sldId id="395" r:id="rId17"/>
    <p:sldId id="405" r:id="rId18"/>
    <p:sldId id="273" r:id="rId19"/>
  </p:sldIdLst>
  <p:sldSz cx="11522075" cy="6480175"/>
  <p:notesSz cx="6797675" cy="9982200"/>
  <p:embeddedFontLst>
    <p:embeddedFont>
      <p:font typeface="Tele-GroteskNor" pitchFamily="2" charset="0"/>
      <p:regular r:id="rId22"/>
    </p:embeddedFont>
    <p:embeddedFont>
      <p:font typeface="Wingdings 2" panose="05020102010507070707" pitchFamily="18" charset="2"/>
      <p:regular r:id="rId23"/>
    </p:embeddedFont>
    <p:embeddedFont>
      <p:font typeface="TeleGrotesk Headline" pitchFamily="2" charset="0"/>
      <p:regular r:id="rId24"/>
    </p:embeddedFont>
    <p:embeddedFont>
      <p:font typeface="TeleGrotesk Headline Ultra" pitchFamily="2" charset="0"/>
      <p:bold r:id="rId25"/>
    </p:embeddedFont>
    <p:embeddedFont>
      <p:font typeface="MS PGothic" panose="020B0600070205080204" pitchFamily="34" charset="-128"/>
      <p:regular r:id="rId26"/>
    </p:embeddedFont>
    <p:embeddedFont>
      <p:font typeface="Lato Regular" panose="020F0502020204030203" pitchFamily="34" charset="-18"/>
      <p:regular r:id="rId27"/>
    </p:embeddedFont>
    <p:embeddedFont>
      <p:font typeface="Arial Unicode MS" panose="020B0604020202020204" pitchFamily="34" charset="-128"/>
      <p:regular r:id="rId28"/>
    </p:embeddedFont>
    <p:embeddedFont>
      <p:font typeface="Tele-GroteskUlt" pitchFamily="2" charset="0"/>
      <p:regular r:id="rId29"/>
    </p:embeddedFont>
    <p:embeddedFont>
      <p:font typeface="Tele-GroteskFet" pitchFamily="2" charset="0"/>
      <p:regular r:id="rId30"/>
    </p:embeddedFont>
  </p:embeddedFontLst>
  <p:custDataLst>
    <p:tags r:id="rId3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4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202"/>
    <a:srgbClr val="E20000"/>
    <a:srgbClr val="E20074"/>
    <a:srgbClr val="00FFFF"/>
    <a:srgbClr val="4B4B4B"/>
    <a:srgbClr val="992C99"/>
    <a:srgbClr val="C4C4C4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7" autoAdjust="0"/>
    <p:restoredTop sz="94613" autoAdjust="0"/>
  </p:normalViewPr>
  <p:slideViewPr>
    <p:cSldViewPr snapToGrid="0" snapToObjects="1">
      <p:cViewPr varScale="1">
        <p:scale>
          <a:sx n="74" d="100"/>
          <a:sy n="74" d="100"/>
        </p:scale>
        <p:origin x="-302" y="22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3144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font" Target="fonts/font5.fntdata"/><Relationship Id="rId21" Type="http://schemas.openxmlformats.org/officeDocument/2006/relationships/handoutMaster" Target="handoutMasters/handoutMaster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4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font" Target="fonts/font3.fntdata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432000"/>
            <a:ext cx="467452" cy="30654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8356" y="263420"/>
            <a:ext cx="5806347" cy="28248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79388" y="406400"/>
            <a:ext cx="6438900" cy="3622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32037"/>
            <a:ext cx="5848498" cy="50014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hu-HU"/>
              <a:t>Textmasterformate durch Klicken bearbeiten</a:t>
            </a:r>
          </a:p>
          <a:p>
            <a:pPr lvl="1"/>
            <a:r>
              <a:rPr lang="hu-HU"/>
              <a:t>Zweite Ebene</a:t>
            </a:r>
          </a:p>
          <a:p>
            <a:pPr lvl="2"/>
            <a:r>
              <a:rPr lang="hu-HU"/>
              <a:t>Dritte Ebene</a:t>
            </a:r>
          </a:p>
          <a:p>
            <a:pPr lvl="3"/>
            <a:r>
              <a:rPr lang="hu-HU"/>
              <a:t>Vierte Ebene</a:t>
            </a:r>
          </a:p>
          <a:p>
            <a:pPr lvl="4"/>
            <a:r>
              <a:rPr lang="hu-HU"/>
              <a:t>Fünfte Ebene</a:t>
            </a:r>
            <a:endParaRPr lang="hu-H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432000"/>
            <a:ext cx="467452" cy="30654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1138" y="400050"/>
            <a:ext cx="6375400" cy="35861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763725" y="9330000"/>
            <a:ext cx="1091910" cy="3032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4588" y="9330000"/>
            <a:ext cx="4442575" cy="3032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123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6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24.emf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8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2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30.jpe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32.jpe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34.jpe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>
          <a:xfrm>
            <a:off x="9810750" y="5655600"/>
            <a:ext cx="1387475" cy="5003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6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484216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de-DE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hu-HU" sz="400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eaLnBrk="1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hu-HU" sz="4000" noProof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hu-HU" sz="4800"/>
              <a:t>TELEGROTESK Headline (ULTRA)</a:t>
            </a:r>
            <a:br>
              <a:rPr lang="hu-HU" sz="4800"/>
            </a:br>
            <a:r>
              <a:rPr lang="hu-HU" sz="4800">
                <a:latin typeface="TeleGrotesk Headline" pitchFamily="2" charset="0"/>
              </a:rPr>
              <a:t>Maximum of 3 lines</a:t>
            </a:r>
            <a:br>
              <a:rPr lang="hu-HU" sz="4800">
                <a:latin typeface="TeleGrotesk Headline" pitchFamily="2" charset="0"/>
              </a:rPr>
            </a:br>
            <a:r>
              <a:rPr lang="hu-HU" sz="4800">
                <a:latin typeface="TeleGrotesk Headline" pitchFamily="2" charset="0"/>
              </a:rPr>
              <a:t>40 (48) 60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6090"/>
          <a:stretch>
            <a:fillRect/>
          </a:stretch>
        </p:blipFill>
        <p:spPr>
          <a:xfrm>
            <a:off x="324000" y="5655600"/>
            <a:ext cx="1247625" cy="500400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162"/>
          <a:stretch>
            <a:fillRect/>
          </a:stretch>
        </p:blipFill>
        <p:spPr>
          <a:xfrm>
            <a:off x="9782175" y="5655600"/>
            <a:ext cx="1416050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4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5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4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90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5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hu-HU"/>
              <a:t>TeleGrotesk Headline Ultra (24) 28 32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Quotations/lead-in</a:t>
            </a:r>
            <a:endParaRPr lang="hu-HU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/>
              <a:t>Quotations/lead-in</a:t>
            </a:r>
            <a:endParaRPr lang="hu-H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hu-HU"/>
              <a:t>TeleGrotesk Headline Ultra (24) 28 32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Quotations/lead-in</a:t>
            </a:r>
            <a:endParaRPr lang="hu-HU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/>
              <a:t>Quotations/lead-in</a:t>
            </a:r>
            <a:endParaRPr lang="hu-HU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/>
              <a:t>Quotations/lead-in</a:t>
            </a:r>
            <a:endParaRPr lang="hu-H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 eaLnBrk="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hu-HU"/>
              <a:t>TeleGrotesk Headline Ultra (24) 28 32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Quotations/lead-in</a:t>
            </a:r>
            <a:endParaRPr lang="hu-HU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 dirty="0"/>
              <a:t>Click to edit </a:t>
            </a:r>
            <a:r>
              <a:rPr lang="hu-HU" noProof="0" dirty="0"/>
              <a:t>text</a:t>
            </a:r>
          </a:p>
          <a:p>
            <a:pPr lvl="1"/>
            <a:r>
              <a:rPr lang="hu-HU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/>
              <a:t>Quotations/lead-in</a:t>
            </a:r>
            <a:endParaRPr lang="hu-HU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>
              <a:buClr>
                <a:schemeClr val="tx1"/>
              </a:buClr>
            </a:pPr>
            <a:r>
              <a:rPr lang="hu-HU"/>
              <a:t>Third level</a:t>
            </a:r>
          </a:p>
          <a:p>
            <a:pPr lvl="3">
              <a:buClr>
                <a:schemeClr val="tx1"/>
              </a:buClr>
            </a:pPr>
            <a:r>
              <a:rPr lang="hu-HU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hu-HU"/>
              <a:t>Quotations/lead-in</a:t>
            </a:r>
            <a:endParaRPr lang="hu-H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24168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2">
                    <a:lumMod val="75000"/>
                  </a:schemeClr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49280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2">
                    <a:lumMod val="75000"/>
                  </a:schemeClr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065446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24168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tx2"/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49280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tx2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86968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5556733" y="494215"/>
            <a:ext cx="5641492" cy="2192831"/>
          </a:xfrm>
        </p:spPr>
        <p:txBody>
          <a:bodyPr/>
          <a:lstStyle>
            <a:lvl1pPr>
              <a:defRPr sz="4800" baseline="0" smtClean="0">
                <a:solidFill>
                  <a:schemeClr val="bg2">
                    <a:lumMod val="75000"/>
                  </a:schemeClr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432106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gray">
          <a:xfrm>
            <a:off x="-12912" y="-12455"/>
            <a:ext cx="11545521" cy="6493761"/>
          </a:xfrm>
          <a:custGeom>
            <a:avLst/>
            <a:gdLst>
              <a:gd name="connsiteX0" fmla="*/ 0 w 11522075"/>
              <a:gd name="connsiteY0" fmla="*/ 0 h 6375400"/>
              <a:gd name="connsiteX1" fmla="*/ 10459487 w 11522075"/>
              <a:gd name="connsiteY1" fmla="*/ 0 h 6375400"/>
              <a:gd name="connsiteX2" fmla="*/ 11522075 w 11522075"/>
              <a:gd name="connsiteY2" fmla="*/ 1062588 h 6375400"/>
              <a:gd name="connsiteX3" fmla="*/ 11522075 w 11522075"/>
              <a:gd name="connsiteY3" fmla="*/ 6375400 h 6375400"/>
              <a:gd name="connsiteX4" fmla="*/ 0 w 11522075"/>
              <a:gd name="connsiteY4" fmla="*/ 6375400 h 6375400"/>
              <a:gd name="connsiteX5" fmla="*/ 0 w 11522075"/>
              <a:gd name="connsiteY5" fmla="*/ 0 h 6375400"/>
              <a:gd name="connsiteX0" fmla="*/ 0 w 11545521"/>
              <a:gd name="connsiteY0" fmla="*/ 0 h 6492631"/>
              <a:gd name="connsiteX1" fmla="*/ 10482933 w 11545521"/>
              <a:gd name="connsiteY1" fmla="*/ 117231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48972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48972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32921 w 11545521"/>
              <a:gd name="connsiteY6" fmla="*/ 6004089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32921 w 11545521"/>
              <a:gd name="connsiteY6" fmla="*/ 6004089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22247 w 11545521"/>
              <a:gd name="connsiteY6" fmla="*/ 5797726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485914 w 11545521"/>
              <a:gd name="connsiteY7" fmla="*/ 5843980 h 6615058"/>
              <a:gd name="connsiteX8" fmla="*/ 1322247 w 11545521"/>
              <a:gd name="connsiteY8" fmla="*/ 5797726 h 6615058"/>
              <a:gd name="connsiteX9" fmla="*/ 23446 w 11545521"/>
              <a:gd name="connsiteY9" fmla="*/ 6492631 h 6615058"/>
              <a:gd name="connsiteX10" fmla="*/ 0 w 11545521"/>
              <a:gd name="connsiteY10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485914 w 11545521"/>
              <a:gd name="connsiteY7" fmla="*/ 5843980 h 6615058"/>
              <a:gd name="connsiteX8" fmla="*/ 1322247 w 11545521"/>
              <a:gd name="connsiteY8" fmla="*/ 5797726 h 6615058"/>
              <a:gd name="connsiteX9" fmla="*/ 23446 w 11545521"/>
              <a:gd name="connsiteY9" fmla="*/ 6492631 h 6615058"/>
              <a:gd name="connsiteX10" fmla="*/ 0 w 11545521"/>
              <a:gd name="connsiteY10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12772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905964 w 11545521"/>
              <a:gd name="connsiteY11" fmla="*/ 6484415 h 6615058"/>
              <a:gd name="connsiteX12" fmla="*/ 12772 w 11545521"/>
              <a:gd name="connsiteY12" fmla="*/ 6492631 h 6615058"/>
              <a:gd name="connsiteX13" fmla="*/ 0 w 11545521"/>
              <a:gd name="connsiteY13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905964 w 11545521"/>
              <a:gd name="connsiteY11" fmla="*/ 6484415 h 6615058"/>
              <a:gd name="connsiteX12" fmla="*/ 12772 w 11545521"/>
              <a:gd name="connsiteY12" fmla="*/ 6492631 h 6615058"/>
              <a:gd name="connsiteX13" fmla="*/ 0 w 11545521"/>
              <a:gd name="connsiteY13" fmla="*/ 0 h 6615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493761"/>
              <a:gd name="connsiteX1" fmla="*/ 8935486 w 11545521"/>
              <a:gd name="connsiteY1" fmla="*/ 35169 h 6493761"/>
              <a:gd name="connsiteX2" fmla="*/ 9432758 w 11545521"/>
              <a:gd name="connsiteY2" fmla="*/ 1056119 h 6493761"/>
              <a:gd name="connsiteX3" fmla="*/ 9761004 w 11545521"/>
              <a:gd name="connsiteY3" fmla="*/ 1059205 h 6493761"/>
              <a:gd name="connsiteX4" fmla="*/ 11545521 w 11545521"/>
              <a:gd name="connsiteY4" fmla="*/ 2738988 h 6493761"/>
              <a:gd name="connsiteX5" fmla="*/ 11545521 w 11545521"/>
              <a:gd name="connsiteY5" fmla="*/ 6492631 h 6493761"/>
              <a:gd name="connsiteX6" fmla="*/ 4463941 w 11545521"/>
              <a:gd name="connsiteY6" fmla="*/ 6491530 h 6493761"/>
              <a:gd name="connsiteX7" fmla="*/ 3072772 w 11545521"/>
              <a:gd name="connsiteY7" fmla="*/ 6174871 h 6493761"/>
              <a:gd name="connsiteX8" fmla="*/ 3115468 w 11545521"/>
              <a:gd name="connsiteY8" fmla="*/ 6285168 h 6493761"/>
              <a:gd name="connsiteX9" fmla="*/ 1717183 w 11545521"/>
              <a:gd name="connsiteY9" fmla="*/ 5612710 h 6493761"/>
              <a:gd name="connsiteX10" fmla="*/ 1574864 w 11545521"/>
              <a:gd name="connsiteY10" fmla="*/ 5787051 h 6493761"/>
              <a:gd name="connsiteX11" fmla="*/ 1535726 w 11545521"/>
              <a:gd name="connsiteY11" fmla="*/ 5772819 h 6493761"/>
              <a:gd name="connsiteX12" fmla="*/ 1461008 w 11545521"/>
              <a:gd name="connsiteY12" fmla="*/ 5836864 h 6493761"/>
              <a:gd name="connsiteX13" fmla="*/ 1322247 w 11545521"/>
              <a:gd name="connsiteY13" fmla="*/ 5797726 h 6493761"/>
              <a:gd name="connsiteX14" fmla="*/ 905964 w 11545521"/>
              <a:gd name="connsiteY14" fmla="*/ 6484415 h 6493761"/>
              <a:gd name="connsiteX15" fmla="*/ 12772 w 11545521"/>
              <a:gd name="connsiteY15" fmla="*/ 6492631 h 6493761"/>
              <a:gd name="connsiteX16" fmla="*/ 0 w 11545521"/>
              <a:gd name="connsiteY16" fmla="*/ 0 h 6493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545521" h="6493761">
                <a:moveTo>
                  <a:pt x="0" y="0"/>
                </a:moveTo>
                <a:lnTo>
                  <a:pt x="8935486" y="35169"/>
                </a:lnTo>
                <a:cubicBezTo>
                  <a:pt x="9277409" y="742584"/>
                  <a:pt x="9248564" y="676849"/>
                  <a:pt x="9432758" y="1056119"/>
                </a:cubicBezTo>
                <a:lnTo>
                  <a:pt x="9761004" y="1059205"/>
                </a:lnTo>
                <a:lnTo>
                  <a:pt x="11545521" y="2738988"/>
                </a:lnTo>
                <a:lnTo>
                  <a:pt x="11545521" y="6492631"/>
                </a:lnTo>
                <a:lnTo>
                  <a:pt x="4463941" y="6491530"/>
                </a:lnTo>
                <a:cubicBezTo>
                  <a:pt x="4023144" y="6406548"/>
                  <a:pt x="3432128" y="6260262"/>
                  <a:pt x="3072772" y="6174871"/>
                </a:cubicBezTo>
                <a:cubicBezTo>
                  <a:pt x="3090954" y="6232801"/>
                  <a:pt x="3087598" y="6222903"/>
                  <a:pt x="3115468" y="6285168"/>
                </a:cubicBezTo>
                <a:cubicBezTo>
                  <a:pt x="2694240" y="6088703"/>
                  <a:pt x="2051040" y="5778749"/>
                  <a:pt x="1717183" y="5612710"/>
                </a:cubicBezTo>
                <a:cubicBezTo>
                  <a:pt x="1659461" y="5679536"/>
                  <a:pt x="1605107" y="5760366"/>
                  <a:pt x="1574864" y="5787051"/>
                </a:cubicBezTo>
                <a:cubicBezTo>
                  <a:pt x="1544621" y="5778156"/>
                  <a:pt x="1553516" y="5752064"/>
                  <a:pt x="1535726" y="5772819"/>
                </a:cubicBezTo>
                <a:cubicBezTo>
                  <a:pt x="1497181" y="5811364"/>
                  <a:pt x="1502518" y="5833899"/>
                  <a:pt x="1461008" y="5836864"/>
                </a:cubicBezTo>
                <a:cubicBezTo>
                  <a:pt x="1408031" y="5817112"/>
                  <a:pt x="1396988" y="5824228"/>
                  <a:pt x="1322247" y="5797726"/>
                </a:cubicBezTo>
                <a:cubicBezTo>
                  <a:pt x="1147907" y="6099560"/>
                  <a:pt x="1040597" y="6279649"/>
                  <a:pt x="905964" y="6484415"/>
                </a:cubicBezTo>
                <a:cubicBezTo>
                  <a:pt x="682381" y="6497050"/>
                  <a:pt x="501774" y="6493520"/>
                  <a:pt x="12772" y="6492631"/>
                </a:cubicBezTo>
                <a:cubicBezTo>
                  <a:pt x="4957" y="4328421"/>
                  <a:pt x="7815" y="2164210"/>
                  <a:pt x="0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278696358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1643269" y="1350000"/>
            <a:ext cx="9552579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37018531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Grafik 33" descr="TKOM_39L_Grillen_7475.jp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1520000" cy="6480175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hu-HU" sz="400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eaLnBrk="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hu-HU" sz="400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eaLnBrk="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hu-HU" sz="180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1" y="3200400"/>
            <a:ext cx="9886690" cy="1107996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Grafik 32" descr="T_Logo_3c_Slogan_p_HU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>
          <a:xfrm>
            <a:off x="493712" y="5482054"/>
            <a:ext cx="1142850" cy="500399"/>
          </a:xfrm>
          <a:prstGeom prst="rect">
            <a:avLst/>
          </a:prstGeom>
        </p:spPr>
      </p:pic>
      <p:pic>
        <p:nvPicPr>
          <p:cNvPr id="35" name="Grafik 34" descr="T_Logo_3c_Slogan_p_HU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>
          <a:xfrm>
            <a:off x="9634538" y="5482054"/>
            <a:ext cx="1387475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divider textur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768621" y="2502939"/>
            <a:ext cx="9552579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615756873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de-DE">
                <a:solidFill>
                  <a:srgbClr val="4B4B4B"/>
                </a:solidFill>
              </a:rPr>
              <a:t>dd.mm.yyyy</a:t>
            </a:r>
            <a:endParaRPr lang="en-US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fld id="{31ED8236-F742-4994-B025-3D78EEC04644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3272821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de-DE">
                <a:solidFill>
                  <a:srgbClr val="4B4B4B"/>
                </a:solidFill>
              </a:rPr>
              <a:t>dd.mm.yyyy</a:t>
            </a:r>
            <a:endParaRPr lang="en-US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fld id="{31ED8236-F742-4994-B025-3D78EEC04644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7348819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4B4B4B"/>
                </a:solidFill>
              </a:rPr>
              <a:t>yyyy.mm.dd</a:t>
            </a:r>
            <a:endParaRPr lang="hu-HU">
              <a:solidFill>
                <a:srgbClr val="4B4B4B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hu-HU" smtClean="0">
                <a:solidFill>
                  <a:srgbClr val="4B4B4B"/>
                </a:solidFill>
              </a:rPr>
              <a:pPr/>
              <a:t>‹#›</a:t>
            </a:fld>
            <a:endParaRPr lang="hu-HU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hu-HU">
                <a:solidFill>
                  <a:srgbClr val="4B4B4B"/>
                </a:solidFill>
              </a:rPr>
              <a:t>– Strictly confidential, Confidential, Internal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90698537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/>
              <a:t>dd.mm.yyyy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11524578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94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horizontal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Headline </a:t>
            </a:r>
            <a:r>
              <a:rPr lang="en-US" dirty="0"/>
              <a:t>Ultra 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5821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28949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24168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2">
                    <a:lumMod val="75000"/>
                  </a:schemeClr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49280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2">
                    <a:lumMod val="75000"/>
                  </a:schemeClr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2416800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tx2"/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49280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tx2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5556733" y="494215"/>
            <a:ext cx="5641492" cy="2192831"/>
          </a:xfrm>
        </p:spPr>
        <p:txBody>
          <a:bodyPr/>
          <a:lstStyle>
            <a:lvl1pPr>
              <a:defRPr sz="4800" baseline="0" smtClean="0">
                <a:solidFill>
                  <a:schemeClr val="bg2">
                    <a:lumMod val="75000"/>
                  </a:schemeClr>
                </a:solidFill>
                <a:latin typeface="TeleGrotesk Headline Ultra" pitchFamily="2" charset="0"/>
              </a:defRPr>
            </a:lvl1pPr>
          </a:lstStyle>
          <a:p>
            <a:r>
              <a:rPr lang="hu-HU" dirty="0"/>
              <a:t>Telegrotesk Headline (Ultra)</a:t>
            </a:r>
            <a:br>
              <a:rPr lang="hu-HU" dirty="0"/>
            </a:br>
            <a:r>
              <a:rPr lang="hu-HU" sz="4800" dirty="0">
                <a:latin typeface="TeleGrotesk Headline" pitchFamily="2" charset="0"/>
              </a:rPr>
              <a:t>Maximum of 3 lines</a:t>
            </a:r>
            <a:br>
              <a:rPr lang="hu-HU" sz="4800" dirty="0">
                <a:latin typeface="TeleGrotesk Headline" pitchFamily="2" charset="0"/>
              </a:rPr>
            </a:br>
            <a:r>
              <a:rPr lang="hu-HU" sz="4800" dirty="0">
                <a:latin typeface="TeleGrotesk Headline" pitchFamily="2" charset="0"/>
              </a:rPr>
              <a:t>40 (48) 66 PT</a:t>
            </a:r>
            <a:endParaRPr lang="hu-HU" dirty="0"/>
          </a:p>
        </p:txBody>
      </p:sp>
      <p:pic>
        <p:nvPicPr>
          <p:cNvPr id="27" name="Grafik 26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777"/>
          <a:stretch>
            <a:fillRect/>
          </a:stretch>
        </p:blipFill>
        <p:spPr bwMode="black">
          <a:xfrm>
            <a:off x="324000" y="5655600"/>
            <a:ext cx="1142850" cy="500399"/>
          </a:xfrm>
          <a:prstGeom prst="rect">
            <a:avLst/>
          </a:prstGeom>
        </p:spPr>
      </p:pic>
      <p:pic>
        <p:nvPicPr>
          <p:cNvPr id="28" name="Grafik 27" descr="T_Logo_3c_Slogan_p_HU.emf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68"/>
          <a:stretch>
            <a:fillRect/>
          </a:stretch>
        </p:blipFill>
        <p:spPr bwMode="black">
          <a:xfrm>
            <a:off x="9810750" y="5655600"/>
            <a:ext cx="1387475" cy="500399"/>
          </a:xfrm>
          <a:prstGeom prst="rect">
            <a:avLst/>
          </a:prstGeom>
        </p:spPr>
      </p:pic>
    </p:spTree>
    <p:extLst/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587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Grafik 32" descr="TKOM_39L_Grillen_7475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4000" y="323999"/>
            <a:ext cx="10872000" cy="3240000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hu-HU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/>
              <a:t>Sub-heading: TeleGrotesk Normal, 24 pt</a:t>
            </a:r>
            <a:endParaRPr lang="hu-HU" dirty="0"/>
          </a:p>
        </p:txBody>
      </p:sp>
      <p:pic>
        <p:nvPicPr>
          <p:cNvPr id="34" name="Grafik 33" descr="T_Logo_3c_Slogan_p_HU.emf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6090"/>
          <a:stretch>
            <a:fillRect/>
          </a:stretch>
        </p:blipFill>
        <p:spPr>
          <a:xfrm>
            <a:off x="324000" y="5655600"/>
            <a:ext cx="1247625" cy="500400"/>
          </a:xfrm>
          <a:prstGeom prst="rect">
            <a:avLst/>
          </a:prstGeom>
        </p:spPr>
      </p:pic>
      <p:pic>
        <p:nvPicPr>
          <p:cNvPr id="35" name="Grafik 34" descr="T_Logo_3c_Slogan_p_HU.emf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162"/>
          <a:stretch>
            <a:fillRect/>
          </a:stretch>
        </p:blipFill>
        <p:spPr>
          <a:xfrm>
            <a:off x="9782175" y="5655600"/>
            <a:ext cx="1416050" cy="500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+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gray">
          <a:xfrm>
            <a:off x="-12912" y="-12455"/>
            <a:ext cx="11545521" cy="6493761"/>
          </a:xfrm>
          <a:custGeom>
            <a:avLst/>
            <a:gdLst>
              <a:gd name="connsiteX0" fmla="*/ 0 w 11522075"/>
              <a:gd name="connsiteY0" fmla="*/ 0 h 6375400"/>
              <a:gd name="connsiteX1" fmla="*/ 10459487 w 11522075"/>
              <a:gd name="connsiteY1" fmla="*/ 0 h 6375400"/>
              <a:gd name="connsiteX2" fmla="*/ 11522075 w 11522075"/>
              <a:gd name="connsiteY2" fmla="*/ 1062588 h 6375400"/>
              <a:gd name="connsiteX3" fmla="*/ 11522075 w 11522075"/>
              <a:gd name="connsiteY3" fmla="*/ 6375400 h 6375400"/>
              <a:gd name="connsiteX4" fmla="*/ 0 w 11522075"/>
              <a:gd name="connsiteY4" fmla="*/ 6375400 h 6375400"/>
              <a:gd name="connsiteX5" fmla="*/ 0 w 11522075"/>
              <a:gd name="connsiteY5" fmla="*/ 0 h 6375400"/>
              <a:gd name="connsiteX0" fmla="*/ 0 w 11545521"/>
              <a:gd name="connsiteY0" fmla="*/ 0 h 6492631"/>
              <a:gd name="connsiteX1" fmla="*/ 10482933 w 11545521"/>
              <a:gd name="connsiteY1" fmla="*/ 117231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11545521 w 11545521"/>
              <a:gd name="connsiteY2" fmla="*/ 1179819 h 6492631"/>
              <a:gd name="connsiteX3" fmla="*/ 11545521 w 11545521"/>
              <a:gd name="connsiteY3" fmla="*/ 6492631 h 6492631"/>
              <a:gd name="connsiteX4" fmla="*/ 23446 w 11545521"/>
              <a:gd name="connsiteY4" fmla="*/ 6492631 h 6492631"/>
              <a:gd name="connsiteX5" fmla="*/ 0 w 11545521"/>
              <a:gd name="connsiteY5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1179819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48800 w 11545521"/>
              <a:gd name="connsiteY2" fmla="*/ 1044088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1545521 w 11545521"/>
              <a:gd name="connsiteY3" fmla="*/ 2738988 h 6492631"/>
              <a:gd name="connsiteX4" fmla="*/ 11545521 w 11545521"/>
              <a:gd name="connsiteY4" fmla="*/ 6492631 h 6492631"/>
              <a:gd name="connsiteX5" fmla="*/ 23446 w 11545521"/>
              <a:gd name="connsiteY5" fmla="*/ 6492631 h 6492631"/>
              <a:gd name="connsiteX6" fmla="*/ 0 w 11545521"/>
              <a:gd name="connsiteY6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10049762 w 11545521"/>
              <a:gd name="connsiteY3" fmla="*/ 1047173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48972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48972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23446 w 11545521"/>
              <a:gd name="connsiteY6" fmla="*/ 6492631 h 6492631"/>
              <a:gd name="connsiteX7" fmla="*/ 0 w 11545521"/>
              <a:gd name="connsiteY7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32921 w 11545521"/>
              <a:gd name="connsiteY6" fmla="*/ 6004089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32921 w 11545521"/>
              <a:gd name="connsiteY6" fmla="*/ 6004089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492631"/>
              <a:gd name="connsiteX1" fmla="*/ 8935486 w 11545521"/>
              <a:gd name="connsiteY1" fmla="*/ 35169 h 6492631"/>
              <a:gd name="connsiteX2" fmla="*/ 9432758 w 11545521"/>
              <a:gd name="connsiteY2" fmla="*/ 1056119 h 6492631"/>
              <a:gd name="connsiteX3" fmla="*/ 9761004 w 11545521"/>
              <a:gd name="connsiteY3" fmla="*/ 1059205 h 6492631"/>
              <a:gd name="connsiteX4" fmla="*/ 11545521 w 11545521"/>
              <a:gd name="connsiteY4" fmla="*/ 2738988 h 6492631"/>
              <a:gd name="connsiteX5" fmla="*/ 11545521 w 11545521"/>
              <a:gd name="connsiteY5" fmla="*/ 6492631 h 6492631"/>
              <a:gd name="connsiteX6" fmla="*/ 1322247 w 11545521"/>
              <a:gd name="connsiteY6" fmla="*/ 5797726 h 6492631"/>
              <a:gd name="connsiteX7" fmla="*/ 23446 w 11545521"/>
              <a:gd name="connsiteY7" fmla="*/ 6492631 h 6492631"/>
              <a:gd name="connsiteX8" fmla="*/ 0 w 11545521"/>
              <a:gd name="connsiteY8" fmla="*/ 0 h 6492631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32150"/>
              <a:gd name="connsiteX1" fmla="*/ 8935486 w 11545521"/>
              <a:gd name="connsiteY1" fmla="*/ 35169 h 6632150"/>
              <a:gd name="connsiteX2" fmla="*/ 9432758 w 11545521"/>
              <a:gd name="connsiteY2" fmla="*/ 1056119 h 6632150"/>
              <a:gd name="connsiteX3" fmla="*/ 9761004 w 11545521"/>
              <a:gd name="connsiteY3" fmla="*/ 1059205 h 6632150"/>
              <a:gd name="connsiteX4" fmla="*/ 11545521 w 11545521"/>
              <a:gd name="connsiteY4" fmla="*/ 2738988 h 6632150"/>
              <a:gd name="connsiteX5" fmla="*/ 11545521 w 11545521"/>
              <a:gd name="connsiteY5" fmla="*/ 6492631 h 6632150"/>
              <a:gd name="connsiteX6" fmla="*/ 1485914 w 11545521"/>
              <a:gd name="connsiteY6" fmla="*/ 5843980 h 6632150"/>
              <a:gd name="connsiteX7" fmla="*/ 1322247 w 11545521"/>
              <a:gd name="connsiteY7" fmla="*/ 5797726 h 6632150"/>
              <a:gd name="connsiteX8" fmla="*/ 23446 w 11545521"/>
              <a:gd name="connsiteY8" fmla="*/ 6492631 h 6632150"/>
              <a:gd name="connsiteX9" fmla="*/ 0 w 11545521"/>
              <a:gd name="connsiteY9" fmla="*/ 0 h 6632150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485914 w 11545521"/>
              <a:gd name="connsiteY7" fmla="*/ 5843980 h 6615058"/>
              <a:gd name="connsiteX8" fmla="*/ 1322247 w 11545521"/>
              <a:gd name="connsiteY8" fmla="*/ 5797726 h 6615058"/>
              <a:gd name="connsiteX9" fmla="*/ 23446 w 11545521"/>
              <a:gd name="connsiteY9" fmla="*/ 6492631 h 6615058"/>
              <a:gd name="connsiteX10" fmla="*/ 0 w 11545521"/>
              <a:gd name="connsiteY10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485914 w 11545521"/>
              <a:gd name="connsiteY7" fmla="*/ 5843980 h 6615058"/>
              <a:gd name="connsiteX8" fmla="*/ 1322247 w 11545521"/>
              <a:gd name="connsiteY8" fmla="*/ 5797726 h 6615058"/>
              <a:gd name="connsiteX9" fmla="*/ 23446 w 11545521"/>
              <a:gd name="connsiteY9" fmla="*/ 6492631 h 6615058"/>
              <a:gd name="connsiteX10" fmla="*/ 0 w 11545521"/>
              <a:gd name="connsiteY10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35726 w 11545521"/>
              <a:gd name="connsiteY7" fmla="*/ 5772819 h 6615058"/>
              <a:gd name="connsiteX8" fmla="*/ 1485914 w 11545521"/>
              <a:gd name="connsiteY8" fmla="*/ 5843980 h 6615058"/>
              <a:gd name="connsiteX9" fmla="*/ 1322247 w 11545521"/>
              <a:gd name="connsiteY9" fmla="*/ 5797726 h 6615058"/>
              <a:gd name="connsiteX10" fmla="*/ 23446 w 11545521"/>
              <a:gd name="connsiteY10" fmla="*/ 6492631 h 6615058"/>
              <a:gd name="connsiteX11" fmla="*/ 0 w 11545521"/>
              <a:gd name="connsiteY11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92654 w 11545521"/>
              <a:gd name="connsiteY7" fmla="*/ 5783493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85914 w 11545521"/>
              <a:gd name="connsiteY9" fmla="*/ 5843980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23446 w 11545521"/>
              <a:gd name="connsiteY11" fmla="*/ 6492631 h 6615058"/>
              <a:gd name="connsiteX12" fmla="*/ 0 w 11545521"/>
              <a:gd name="connsiteY12" fmla="*/ 0 h 661505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891732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23446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982428"/>
              <a:gd name="connsiteX1" fmla="*/ 8935486 w 11545521"/>
              <a:gd name="connsiteY1" fmla="*/ 35169 h 6982428"/>
              <a:gd name="connsiteX2" fmla="*/ 9432758 w 11545521"/>
              <a:gd name="connsiteY2" fmla="*/ 1056119 h 6982428"/>
              <a:gd name="connsiteX3" fmla="*/ 9761004 w 11545521"/>
              <a:gd name="connsiteY3" fmla="*/ 1059205 h 6982428"/>
              <a:gd name="connsiteX4" fmla="*/ 11545521 w 11545521"/>
              <a:gd name="connsiteY4" fmla="*/ 2738988 h 6982428"/>
              <a:gd name="connsiteX5" fmla="*/ 11545521 w 11545521"/>
              <a:gd name="connsiteY5" fmla="*/ 6492631 h 6982428"/>
              <a:gd name="connsiteX6" fmla="*/ 1717183 w 11545521"/>
              <a:gd name="connsiteY6" fmla="*/ 5612710 h 6982428"/>
              <a:gd name="connsiteX7" fmla="*/ 1574864 w 11545521"/>
              <a:gd name="connsiteY7" fmla="*/ 5787051 h 6982428"/>
              <a:gd name="connsiteX8" fmla="*/ 1535726 w 11545521"/>
              <a:gd name="connsiteY8" fmla="*/ 5772819 h 6982428"/>
              <a:gd name="connsiteX9" fmla="*/ 1461008 w 11545521"/>
              <a:gd name="connsiteY9" fmla="*/ 5836864 h 6982428"/>
              <a:gd name="connsiteX10" fmla="*/ 1322247 w 11545521"/>
              <a:gd name="connsiteY10" fmla="*/ 5797726 h 6982428"/>
              <a:gd name="connsiteX11" fmla="*/ 905964 w 11545521"/>
              <a:gd name="connsiteY11" fmla="*/ 6484415 h 6982428"/>
              <a:gd name="connsiteX12" fmla="*/ 12772 w 11545521"/>
              <a:gd name="connsiteY12" fmla="*/ 6492631 h 6982428"/>
              <a:gd name="connsiteX13" fmla="*/ 0 w 11545521"/>
              <a:gd name="connsiteY13" fmla="*/ 0 h 698242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905964 w 11545521"/>
              <a:gd name="connsiteY11" fmla="*/ 6484415 h 6615058"/>
              <a:gd name="connsiteX12" fmla="*/ 12772 w 11545521"/>
              <a:gd name="connsiteY12" fmla="*/ 6492631 h 6615058"/>
              <a:gd name="connsiteX13" fmla="*/ 0 w 11545521"/>
              <a:gd name="connsiteY13" fmla="*/ 0 h 6615058"/>
              <a:gd name="connsiteX0" fmla="*/ 0 w 11545521"/>
              <a:gd name="connsiteY0" fmla="*/ 0 h 6615058"/>
              <a:gd name="connsiteX1" fmla="*/ 8935486 w 11545521"/>
              <a:gd name="connsiteY1" fmla="*/ 35169 h 6615058"/>
              <a:gd name="connsiteX2" fmla="*/ 9432758 w 11545521"/>
              <a:gd name="connsiteY2" fmla="*/ 1056119 h 6615058"/>
              <a:gd name="connsiteX3" fmla="*/ 9761004 w 11545521"/>
              <a:gd name="connsiteY3" fmla="*/ 1059205 h 6615058"/>
              <a:gd name="connsiteX4" fmla="*/ 11545521 w 11545521"/>
              <a:gd name="connsiteY4" fmla="*/ 2738988 h 6615058"/>
              <a:gd name="connsiteX5" fmla="*/ 11545521 w 11545521"/>
              <a:gd name="connsiteY5" fmla="*/ 6492631 h 6615058"/>
              <a:gd name="connsiteX6" fmla="*/ 1717183 w 11545521"/>
              <a:gd name="connsiteY6" fmla="*/ 5612710 h 6615058"/>
              <a:gd name="connsiteX7" fmla="*/ 1574864 w 11545521"/>
              <a:gd name="connsiteY7" fmla="*/ 5787051 h 6615058"/>
              <a:gd name="connsiteX8" fmla="*/ 1535726 w 11545521"/>
              <a:gd name="connsiteY8" fmla="*/ 5772819 h 6615058"/>
              <a:gd name="connsiteX9" fmla="*/ 1461008 w 11545521"/>
              <a:gd name="connsiteY9" fmla="*/ 5836864 h 6615058"/>
              <a:gd name="connsiteX10" fmla="*/ 1322247 w 11545521"/>
              <a:gd name="connsiteY10" fmla="*/ 5797726 h 6615058"/>
              <a:gd name="connsiteX11" fmla="*/ 905964 w 11545521"/>
              <a:gd name="connsiteY11" fmla="*/ 6484415 h 6615058"/>
              <a:gd name="connsiteX12" fmla="*/ 12772 w 11545521"/>
              <a:gd name="connsiteY12" fmla="*/ 6492631 h 6615058"/>
              <a:gd name="connsiteX13" fmla="*/ 0 w 11545521"/>
              <a:gd name="connsiteY13" fmla="*/ 0 h 6615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699058"/>
              <a:gd name="connsiteX1" fmla="*/ 8935486 w 11545521"/>
              <a:gd name="connsiteY1" fmla="*/ 35169 h 6699058"/>
              <a:gd name="connsiteX2" fmla="*/ 9432758 w 11545521"/>
              <a:gd name="connsiteY2" fmla="*/ 1056119 h 6699058"/>
              <a:gd name="connsiteX3" fmla="*/ 9761004 w 11545521"/>
              <a:gd name="connsiteY3" fmla="*/ 1059205 h 6699058"/>
              <a:gd name="connsiteX4" fmla="*/ 11545521 w 11545521"/>
              <a:gd name="connsiteY4" fmla="*/ 2738988 h 6699058"/>
              <a:gd name="connsiteX5" fmla="*/ 11545521 w 11545521"/>
              <a:gd name="connsiteY5" fmla="*/ 6492631 h 6699058"/>
              <a:gd name="connsiteX6" fmla="*/ 3115468 w 11545521"/>
              <a:gd name="connsiteY6" fmla="*/ 6285168 h 6699058"/>
              <a:gd name="connsiteX7" fmla="*/ 1717183 w 11545521"/>
              <a:gd name="connsiteY7" fmla="*/ 5612710 h 6699058"/>
              <a:gd name="connsiteX8" fmla="*/ 1574864 w 11545521"/>
              <a:gd name="connsiteY8" fmla="*/ 5787051 h 6699058"/>
              <a:gd name="connsiteX9" fmla="*/ 1535726 w 11545521"/>
              <a:gd name="connsiteY9" fmla="*/ 5772819 h 6699058"/>
              <a:gd name="connsiteX10" fmla="*/ 1461008 w 11545521"/>
              <a:gd name="connsiteY10" fmla="*/ 5836864 h 6699058"/>
              <a:gd name="connsiteX11" fmla="*/ 1322247 w 11545521"/>
              <a:gd name="connsiteY11" fmla="*/ 5797726 h 6699058"/>
              <a:gd name="connsiteX12" fmla="*/ 905964 w 11545521"/>
              <a:gd name="connsiteY12" fmla="*/ 6484415 h 6699058"/>
              <a:gd name="connsiteX13" fmla="*/ 12772 w 11545521"/>
              <a:gd name="connsiteY13" fmla="*/ 6492631 h 6699058"/>
              <a:gd name="connsiteX14" fmla="*/ 0 w 11545521"/>
              <a:gd name="connsiteY14" fmla="*/ 0 h 6699058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01703"/>
              <a:gd name="connsiteX1" fmla="*/ 8935486 w 11545521"/>
              <a:gd name="connsiteY1" fmla="*/ 35169 h 6701703"/>
              <a:gd name="connsiteX2" fmla="*/ 9432758 w 11545521"/>
              <a:gd name="connsiteY2" fmla="*/ 1056119 h 6701703"/>
              <a:gd name="connsiteX3" fmla="*/ 9761004 w 11545521"/>
              <a:gd name="connsiteY3" fmla="*/ 1059205 h 6701703"/>
              <a:gd name="connsiteX4" fmla="*/ 11545521 w 11545521"/>
              <a:gd name="connsiteY4" fmla="*/ 2738988 h 6701703"/>
              <a:gd name="connsiteX5" fmla="*/ 11545521 w 11545521"/>
              <a:gd name="connsiteY5" fmla="*/ 6492631 h 6701703"/>
              <a:gd name="connsiteX6" fmla="*/ 3072772 w 11545521"/>
              <a:gd name="connsiteY6" fmla="*/ 6174871 h 6701703"/>
              <a:gd name="connsiteX7" fmla="*/ 3115468 w 11545521"/>
              <a:gd name="connsiteY7" fmla="*/ 6285168 h 6701703"/>
              <a:gd name="connsiteX8" fmla="*/ 1717183 w 11545521"/>
              <a:gd name="connsiteY8" fmla="*/ 5612710 h 6701703"/>
              <a:gd name="connsiteX9" fmla="*/ 1574864 w 11545521"/>
              <a:gd name="connsiteY9" fmla="*/ 5787051 h 6701703"/>
              <a:gd name="connsiteX10" fmla="*/ 1535726 w 11545521"/>
              <a:gd name="connsiteY10" fmla="*/ 5772819 h 6701703"/>
              <a:gd name="connsiteX11" fmla="*/ 1461008 w 11545521"/>
              <a:gd name="connsiteY11" fmla="*/ 5836864 h 6701703"/>
              <a:gd name="connsiteX12" fmla="*/ 1322247 w 11545521"/>
              <a:gd name="connsiteY12" fmla="*/ 5797726 h 6701703"/>
              <a:gd name="connsiteX13" fmla="*/ 905964 w 11545521"/>
              <a:gd name="connsiteY13" fmla="*/ 6484415 h 6701703"/>
              <a:gd name="connsiteX14" fmla="*/ 12772 w 11545521"/>
              <a:gd name="connsiteY14" fmla="*/ 6492631 h 6701703"/>
              <a:gd name="connsiteX15" fmla="*/ 0 w 11545521"/>
              <a:gd name="connsiteY15" fmla="*/ 0 h 670170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767173"/>
              <a:gd name="connsiteX1" fmla="*/ 8935486 w 11545521"/>
              <a:gd name="connsiteY1" fmla="*/ 35169 h 6767173"/>
              <a:gd name="connsiteX2" fmla="*/ 9432758 w 11545521"/>
              <a:gd name="connsiteY2" fmla="*/ 1056119 h 6767173"/>
              <a:gd name="connsiteX3" fmla="*/ 9761004 w 11545521"/>
              <a:gd name="connsiteY3" fmla="*/ 1059205 h 6767173"/>
              <a:gd name="connsiteX4" fmla="*/ 11545521 w 11545521"/>
              <a:gd name="connsiteY4" fmla="*/ 2738988 h 6767173"/>
              <a:gd name="connsiteX5" fmla="*/ 11545521 w 11545521"/>
              <a:gd name="connsiteY5" fmla="*/ 6492631 h 6767173"/>
              <a:gd name="connsiteX6" fmla="*/ 4463941 w 11545521"/>
              <a:gd name="connsiteY6" fmla="*/ 6491530 h 6767173"/>
              <a:gd name="connsiteX7" fmla="*/ 3072772 w 11545521"/>
              <a:gd name="connsiteY7" fmla="*/ 6174871 h 6767173"/>
              <a:gd name="connsiteX8" fmla="*/ 3115468 w 11545521"/>
              <a:gd name="connsiteY8" fmla="*/ 6285168 h 6767173"/>
              <a:gd name="connsiteX9" fmla="*/ 1717183 w 11545521"/>
              <a:gd name="connsiteY9" fmla="*/ 5612710 h 6767173"/>
              <a:gd name="connsiteX10" fmla="*/ 1574864 w 11545521"/>
              <a:gd name="connsiteY10" fmla="*/ 5787051 h 6767173"/>
              <a:gd name="connsiteX11" fmla="*/ 1535726 w 11545521"/>
              <a:gd name="connsiteY11" fmla="*/ 5772819 h 6767173"/>
              <a:gd name="connsiteX12" fmla="*/ 1461008 w 11545521"/>
              <a:gd name="connsiteY12" fmla="*/ 5836864 h 6767173"/>
              <a:gd name="connsiteX13" fmla="*/ 1322247 w 11545521"/>
              <a:gd name="connsiteY13" fmla="*/ 5797726 h 6767173"/>
              <a:gd name="connsiteX14" fmla="*/ 905964 w 11545521"/>
              <a:gd name="connsiteY14" fmla="*/ 6484415 h 6767173"/>
              <a:gd name="connsiteX15" fmla="*/ 12772 w 11545521"/>
              <a:gd name="connsiteY15" fmla="*/ 6492631 h 6767173"/>
              <a:gd name="connsiteX16" fmla="*/ 0 w 11545521"/>
              <a:gd name="connsiteY16" fmla="*/ 0 h 6767173"/>
              <a:gd name="connsiteX0" fmla="*/ 0 w 11545521"/>
              <a:gd name="connsiteY0" fmla="*/ 0 h 6493761"/>
              <a:gd name="connsiteX1" fmla="*/ 8935486 w 11545521"/>
              <a:gd name="connsiteY1" fmla="*/ 35169 h 6493761"/>
              <a:gd name="connsiteX2" fmla="*/ 9432758 w 11545521"/>
              <a:gd name="connsiteY2" fmla="*/ 1056119 h 6493761"/>
              <a:gd name="connsiteX3" fmla="*/ 9761004 w 11545521"/>
              <a:gd name="connsiteY3" fmla="*/ 1059205 h 6493761"/>
              <a:gd name="connsiteX4" fmla="*/ 11545521 w 11545521"/>
              <a:gd name="connsiteY4" fmla="*/ 2738988 h 6493761"/>
              <a:gd name="connsiteX5" fmla="*/ 11545521 w 11545521"/>
              <a:gd name="connsiteY5" fmla="*/ 6492631 h 6493761"/>
              <a:gd name="connsiteX6" fmla="*/ 4463941 w 11545521"/>
              <a:gd name="connsiteY6" fmla="*/ 6491530 h 6493761"/>
              <a:gd name="connsiteX7" fmla="*/ 3072772 w 11545521"/>
              <a:gd name="connsiteY7" fmla="*/ 6174871 h 6493761"/>
              <a:gd name="connsiteX8" fmla="*/ 3115468 w 11545521"/>
              <a:gd name="connsiteY8" fmla="*/ 6285168 h 6493761"/>
              <a:gd name="connsiteX9" fmla="*/ 1717183 w 11545521"/>
              <a:gd name="connsiteY9" fmla="*/ 5612710 h 6493761"/>
              <a:gd name="connsiteX10" fmla="*/ 1574864 w 11545521"/>
              <a:gd name="connsiteY10" fmla="*/ 5787051 h 6493761"/>
              <a:gd name="connsiteX11" fmla="*/ 1535726 w 11545521"/>
              <a:gd name="connsiteY11" fmla="*/ 5772819 h 6493761"/>
              <a:gd name="connsiteX12" fmla="*/ 1461008 w 11545521"/>
              <a:gd name="connsiteY12" fmla="*/ 5836864 h 6493761"/>
              <a:gd name="connsiteX13" fmla="*/ 1322247 w 11545521"/>
              <a:gd name="connsiteY13" fmla="*/ 5797726 h 6493761"/>
              <a:gd name="connsiteX14" fmla="*/ 905964 w 11545521"/>
              <a:gd name="connsiteY14" fmla="*/ 6484415 h 6493761"/>
              <a:gd name="connsiteX15" fmla="*/ 12772 w 11545521"/>
              <a:gd name="connsiteY15" fmla="*/ 6492631 h 6493761"/>
              <a:gd name="connsiteX16" fmla="*/ 0 w 11545521"/>
              <a:gd name="connsiteY16" fmla="*/ 0 h 6493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1545521" h="6493761">
                <a:moveTo>
                  <a:pt x="0" y="0"/>
                </a:moveTo>
                <a:lnTo>
                  <a:pt x="8935486" y="35169"/>
                </a:lnTo>
                <a:cubicBezTo>
                  <a:pt x="9277409" y="742584"/>
                  <a:pt x="9248564" y="676849"/>
                  <a:pt x="9432758" y="1056119"/>
                </a:cubicBezTo>
                <a:lnTo>
                  <a:pt x="9761004" y="1059205"/>
                </a:lnTo>
                <a:lnTo>
                  <a:pt x="11545521" y="2738988"/>
                </a:lnTo>
                <a:lnTo>
                  <a:pt x="11545521" y="6492631"/>
                </a:lnTo>
                <a:lnTo>
                  <a:pt x="4463941" y="6491530"/>
                </a:lnTo>
                <a:cubicBezTo>
                  <a:pt x="4023144" y="6406548"/>
                  <a:pt x="3432128" y="6260262"/>
                  <a:pt x="3072772" y="6174871"/>
                </a:cubicBezTo>
                <a:cubicBezTo>
                  <a:pt x="3090954" y="6232801"/>
                  <a:pt x="3087598" y="6222903"/>
                  <a:pt x="3115468" y="6285168"/>
                </a:cubicBezTo>
                <a:cubicBezTo>
                  <a:pt x="2694240" y="6088703"/>
                  <a:pt x="2051040" y="5778749"/>
                  <a:pt x="1717183" y="5612710"/>
                </a:cubicBezTo>
                <a:cubicBezTo>
                  <a:pt x="1659461" y="5679536"/>
                  <a:pt x="1605107" y="5760366"/>
                  <a:pt x="1574864" y="5787051"/>
                </a:cubicBezTo>
                <a:cubicBezTo>
                  <a:pt x="1544621" y="5778156"/>
                  <a:pt x="1553516" y="5752064"/>
                  <a:pt x="1535726" y="5772819"/>
                </a:cubicBezTo>
                <a:cubicBezTo>
                  <a:pt x="1497181" y="5811364"/>
                  <a:pt x="1502518" y="5833899"/>
                  <a:pt x="1461008" y="5836864"/>
                </a:cubicBezTo>
                <a:cubicBezTo>
                  <a:pt x="1408031" y="5817112"/>
                  <a:pt x="1396988" y="5824228"/>
                  <a:pt x="1322247" y="5797726"/>
                </a:cubicBezTo>
                <a:cubicBezTo>
                  <a:pt x="1147907" y="6099560"/>
                  <a:pt x="1040597" y="6279649"/>
                  <a:pt x="905964" y="6484415"/>
                </a:cubicBezTo>
                <a:cubicBezTo>
                  <a:pt x="682381" y="6497050"/>
                  <a:pt x="501774" y="6493520"/>
                  <a:pt x="12772" y="6492631"/>
                </a:cubicBezTo>
                <a:cubicBezTo>
                  <a:pt x="4957" y="4328421"/>
                  <a:pt x="7815" y="2164210"/>
                  <a:pt x="0" y="0"/>
                </a:cubicBez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 dirty="0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  <a:endParaRPr lang="hu-HU" dirty="0">
              <a:solidFill>
                <a:srgbClr val="E20074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1643269" y="1350000"/>
            <a:ext cx="9552579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 dirty="0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  <a:endParaRPr lang="hu-HU" dirty="0">
              <a:solidFill>
                <a:srgbClr val="E20074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ide divider textur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768621" y="2502939"/>
            <a:ext cx="9552579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hu-HU" dirty="0" err="1"/>
              <a:t>TeleGrotesk</a:t>
            </a:r>
            <a:r>
              <a:rPr lang="hu-HU" dirty="0"/>
              <a:t> HEADLINE (Ultra)</a:t>
            </a:r>
            <a:br>
              <a:rPr lang="hu-HU" dirty="0"/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</a:t>
            </a:r>
            <a:r>
              <a:rPr kumimoji="0" lang="hu-HU" sz="5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lines</a:t>
            </a:r>
            <a:b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yyyy.mm.dd</a:t>
            </a:r>
            <a:endParaRPr lang="hu-HU" dirty="0">
              <a:solidFill>
                <a:srgbClr val="E20074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31ED8236-F742-4994-B025-3D78EEC04644}" type="slidenum">
              <a:rPr lang="hu-HU" smtClean="0">
                <a:solidFill>
                  <a:srgbClr val="E20074"/>
                </a:solidFill>
              </a:rPr>
              <a:pPr/>
              <a:t>‹#›</a:t>
            </a:fld>
            <a:endParaRPr lang="hu-HU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hu-HU">
                <a:solidFill>
                  <a:srgbClr val="E20074"/>
                </a:solidFill>
              </a:rPr>
              <a:t>– Strictly confidential, Confidential, Internal–     Author/Presentation Topic</a:t>
            </a:r>
            <a:endParaRPr lang="hu-HU" dirty="0">
              <a:solidFill>
                <a:srgbClr val="E20074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de-DE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fld id="{31ED8236-F742-4994-B025-3D78EEC04644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en-US" dirty="0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</p:spTree>
    <p:extLst/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de-DE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fld id="{31ED8236-F742-4994-B025-3D78EEC04644}" type="slidenum">
              <a:rPr lang="en-US" smtClean="0">
                <a:solidFill>
                  <a:srgbClr val="4B4B4B"/>
                </a:solidFill>
              </a:rPr>
              <a:pPr/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r>
              <a:rPr lang="en-US" dirty="0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</p:spTree>
    <p:extLst/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hu-HU"/>
              <a:t>TeleGrotesk Headline Ultra 28 (32) 40 pt</a:t>
            </a:r>
            <a:endParaRPr lang="hu-HU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hu-HU"/>
              <a:t>Click to edit text</a:t>
            </a:r>
          </a:p>
          <a:p>
            <a:pPr lvl="1"/>
            <a:r>
              <a:rPr lang="hu-HU"/>
              <a:t>Second level</a:t>
            </a:r>
          </a:p>
          <a:p>
            <a:pPr lvl="2"/>
            <a:r>
              <a:rPr lang="hu-HU"/>
              <a:t>Third level</a:t>
            </a:r>
          </a:p>
          <a:p>
            <a:pPr lvl="3"/>
            <a:r>
              <a:rPr lang="hu-HU"/>
              <a:t>Fourth level</a:t>
            </a:r>
          </a:p>
          <a:p>
            <a:pPr lvl="4"/>
            <a:r>
              <a:rPr lang="hu-HU"/>
              <a:t>Fifth level</a:t>
            </a:r>
            <a:endParaRPr lang="hu-HU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4B4B4B"/>
                </a:solidFill>
              </a:rPr>
              <a:t>yyyy.mm.dd</a:t>
            </a:r>
            <a:endParaRPr lang="hu-HU" dirty="0">
              <a:solidFill>
                <a:srgbClr val="4B4B4B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hu-HU" smtClean="0">
                <a:solidFill>
                  <a:srgbClr val="4B4B4B"/>
                </a:solidFill>
              </a:rPr>
              <a:pPr/>
              <a:t>‹#›</a:t>
            </a:fld>
            <a:endParaRPr lang="hu-HU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hu-HU">
                <a:solidFill>
                  <a:srgbClr val="4B4B4B"/>
                </a:solidFill>
              </a:rPr>
              <a:t>– Strictly confidential, Confidential, Internal–     Author/Presentation Topic</a:t>
            </a:r>
            <a:endParaRPr lang="hu-HU" dirty="0">
              <a:solidFill>
                <a:srgbClr val="4B4B4B"/>
              </a:solidFill>
            </a:endParaRPr>
          </a:p>
        </p:txBody>
      </p:sp>
    </p:spTree>
    <p:extLst/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" y="0"/>
            <a:ext cx="11520311" cy="6480175"/>
          </a:xfrm>
          <a:prstGeom prst="rect">
            <a:avLst/>
          </a:prstGeom>
        </p:spPr>
      </p:pic>
      <p:pic>
        <p:nvPicPr>
          <p:cNvPr id="6" name="Picture 62" descr="T_Logo_3c_Slogan_p_DE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330202" y="5907089"/>
            <a:ext cx="2741612" cy="363537"/>
          </a:xfrm>
          <a:prstGeom prst="rect">
            <a:avLst/>
          </a:prstGeom>
          <a:noFill/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304801" y="314326"/>
            <a:ext cx="10863263" cy="5262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/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2077492"/>
          </a:xfrm>
          <a:noFill/>
        </p:spPr>
        <p:txBody>
          <a:bodyPr wrap="square" lIns="0" tIns="0">
            <a:spAutoFit/>
          </a:bodyPr>
          <a:lstStyle>
            <a:lvl1pPr>
              <a:defRPr sz="75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dirty="0" err="1"/>
              <a:t>TeleGrotesk</a:t>
            </a:r>
            <a:r>
              <a:rPr lang="en-US" noProof="0" dirty="0"/>
              <a:t> Headline Ultra 60 (75) 90 PT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323850" y="3240088"/>
            <a:ext cx="10874375" cy="512090"/>
          </a:xfrm>
          <a:noFill/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noProof="0" dirty="0"/>
              <a:t>Sub-heading Tele-</a:t>
            </a:r>
            <a:r>
              <a:rPr lang="en-US" noProof="0" dirty="0" err="1"/>
              <a:t>GroteskFet</a:t>
            </a:r>
            <a:r>
              <a:rPr lang="en-US" noProof="0" dirty="0"/>
              <a:t>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grpSp>
        <p:nvGrpSpPr>
          <p:cNvPr id="34" name="Gruppieren 33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59" name="Gruppieren 58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42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4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9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0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1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3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5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931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-1" y="3240088"/>
            <a:ext cx="11522076" cy="324008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00"/>
            <a:ext cx="10874374" cy="1933905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(60) 75 90 PT</a:t>
            </a:r>
          </a:p>
        </p:txBody>
      </p:sp>
      <p:grpSp>
        <p:nvGrpSpPr>
          <p:cNvPr id="9" name="Gruppieren 8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10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16" name="Gruppieren 15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7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4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5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8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9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836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vertical lef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0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1"/>
            <a:ext cx="5113337" cy="246507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6" name="Gruppieren 35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8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0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1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2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3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61" name="Gruppieren 60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44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6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7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8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9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0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1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2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3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4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5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6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7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8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9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60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187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5371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ußzeilenplatzhalter 1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eaLnBrk="1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800" err="1"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 bwMode="white">
          <a:xfrm>
            <a:off x="5762624" y="0"/>
            <a:ext cx="5761038" cy="6480175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6475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6474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0" name="Gruppieren 39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41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2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3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4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6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7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8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9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0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1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2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3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4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5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6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7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66" name="Gruppieren 65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67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68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69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70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71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224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40087"/>
            <a:ext cx="10874374" cy="996634"/>
          </a:xfrm>
          <a:noFill/>
        </p:spPr>
        <p:txBody>
          <a:bodyPr wrap="square" lIns="0" tIns="14400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Headline </a:t>
            </a:r>
            <a:r>
              <a:rPr lang="en-US" dirty="0"/>
              <a:t>Ultra (60) 75 90 PT</a:t>
            </a:r>
          </a:p>
        </p:txBody>
      </p:sp>
      <p:grpSp>
        <p:nvGrpSpPr>
          <p:cNvPr id="5" name="Gruppieren 4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13" name="Gruppieren 12"/>
          <p:cNvGrpSpPr/>
          <p:nvPr userDrawn="1"/>
        </p:nvGrpSpPr>
        <p:grpSpPr bwMode="black">
          <a:xfrm>
            <a:off x="8974138" y="5788025"/>
            <a:ext cx="2224088" cy="171450"/>
            <a:chOff x="8974138" y="5788025"/>
            <a:chExt cx="2224088" cy="171450"/>
          </a:xfrm>
        </p:grpSpPr>
        <p:sp>
          <p:nvSpPr>
            <p:cNvPr id="14" name="Freeform 39"/>
            <p:cNvSpPr>
              <a:spLocks/>
            </p:cNvSpPr>
            <p:nvPr userDrawn="1"/>
          </p:nvSpPr>
          <p:spPr bwMode="black">
            <a:xfrm>
              <a:off x="8974138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black">
            <a:xfrm>
              <a:off x="9094788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black">
            <a:xfrm>
              <a:off x="9161463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black">
            <a:xfrm>
              <a:off x="9280525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black">
            <a:xfrm>
              <a:off x="947261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black">
            <a:xfrm>
              <a:off x="95329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black">
            <a:xfrm>
              <a:off x="9729788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1" name="Freeform 46"/>
            <p:cNvSpPr>
              <a:spLocks noEditPoints="1"/>
            </p:cNvSpPr>
            <p:nvPr userDrawn="1"/>
          </p:nvSpPr>
          <p:spPr bwMode="black">
            <a:xfrm>
              <a:off x="9842500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2" name="Freeform 47"/>
            <p:cNvSpPr>
              <a:spLocks noEditPoints="1"/>
            </p:cNvSpPr>
            <p:nvPr userDrawn="1"/>
          </p:nvSpPr>
          <p:spPr bwMode="black">
            <a:xfrm>
              <a:off x="10006013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black">
            <a:xfrm>
              <a:off x="10206038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black">
            <a:xfrm>
              <a:off x="10344150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5" name="Freeform 50"/>
            <p:cNvSpPr>
              <a:spLocks noEditPoints="1"/>
            </p:cNvSpPr>
            <p:nvPr userDrawn="1"/>
          </p:nvSpPr>
          <p:spPr bwMode="black">
            <a:xfrm>
              <a:off x="10483850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6" name="Freeform 51"/>
            <p:cNvSpPr>
              <a:spLocks noEditPoints="1"/>
            </p:cNvSpPr>
            <p:nvPr userDrawn="1"/>
          </p:nvSpPr>
          <p:spPr bwMode="black">
            <a:xfrm>
              <a:off x="10641013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black">
            <a:xfrm>
              <a:off x="10787063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black">
            <a:xfrm>
              <a:off x="10853738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black">
            <a:xfrm>
              <a:off x="10998200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black">
            <a:xfrm>
              <a:off x="11161713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916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left transparent">
    <p:bg bwMode="ltGray"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5113337" cy="246600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 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323850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8" name="Gruppieren 7"/>
          <p:cNvGrpSpPr/>
          <p:nvPr userDrawn="1"/>
        </p:nvGrpSpPr>
        <p:grpSpPr bwMode="black">
          <a:xfrm>
            <a:off x="323850" y="5511800"/>
            <a:ext cx="1314450" cy="649288"/>
            <a:chOff x="323850" y="5511800"/>
            <a:chExt cx="1314450" cy="649288"/>
          </a:xfrm>
        </p:grpSpPr>
        <p:sp>
          <p:nvSpPr>
            <p:cNvPr id="9" name="Freeform 21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1" name="Freeform 22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2" name="Freeform 23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3" name="Freeform 24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4" name="Freeform 25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15" name="Gruppieren 14"/>
          <p:cNvGrpSpPr/>
          <p:nvPr userDrawn="1"/>
        </p:nvGrpSpPr>
        <p:grpSpPr bwMode="black">
          <a:xfrm>
            <a:off x="3213101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175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vertical right transparent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6084889" y="323850"/>
            <a:ext cx="5113337" cy="2492990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Headline Ultra</a:t>
            </a:r>
            <a:br>
              <a:rPr lang="en-US" dirty="0"/>
            </a:br>
            <a:r>
              <a:rPr lang="en-US" dirty="0"/>
              <a:t>(60) 75 90 P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black">
          <a:xfrm>
            <a:off x="6084888" y="3240088"/>
            <a:ext cx="5113338" cy="1008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>
              <a:defRPr lang="de-DE" smtClean="0">
                <a:solidFill>
                  <a:schemeClr val="bg1"/>
                </a:solidFill>
              </a:defRPr>
            </a:lvl2pPr>
            <a:lvl3pPr>
              <a:defRPr lang="de-DE" smtClean="0">
                <a:solidFill>
                  <a:schemeClr val="bg1"/>
                </a:solidFill>
              </a:defRPr>
            </a:lvl3pPr>
            <a:lvl4pPr>
              <a:defRPr lang="de-DE" smtClean="0">
                <a:solidFill>
                  <a:schemeClr val="bg1"/>
                </a:solidFill>
              </a:defRPr>
            </a:lvl4pPr>
            <a:lvl5pPr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heading </a:t>
            </a:r>
            <a:r>
              <a:rPr lang="en-US" dirty="0"/>
              <a:t>Tele-</a:t>
            </a:r>
            <a:r>
              <a:rPr lang="en-US" dirty="0" err="1"/>
              <a:t>GroteskFet</a:t>
            </a:r>
            <a:r>
              <a:rPr lang="en-US" dirty="0"/>
              <a:t> 18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5" name="Gruppieren 14"/>
          <p:cNvGrpSpPr/>
          <p:nvPr userDrawn="1"/>
        </p:nvGrpSpPr>
        <p:grpSpPr bwMode="black">
          <a:xfrm>
            <a:off x="8974137" y="5788025"/>
            <a:ext cx="2224088" cy="171450"/>
            <a:chOff x="3213101" y="5788025"/>
            <a:chExt cx="2224088" cy="171450"/>
          </a:xfrm>
        </p:grpSpPr>
        <p:sp>
          <p:nvSpPr>
            <p:cNvPr id="16" name="Freeform 55"/>
            <p:cNvSpPr>
              <a:spLocks/>
            </p:cNvSpPr>
            <p:nvPr userDrawn="1"/>
          </p:nvSpPr>
          <p:spPr bwMode="black">
            <a:xfrm>
              <a:off x="3213101" y="5791200"/>
              <a:ext cx="100013" cy="163513"/>
            </a:xfrm>
            <a:custGeom>
              <a:avLst/>
              <a:gdLst>
                <a:gd name="T0" fmla="*/ 0 w 63"/>
                <a:gd name="T1" fmla="*/ 103 h 103"/>
                <a:gd name="T2" fmla="*/ 0 w 63"/>
                <a:gd name="T3" fmla="*/ 0 h 103"/>
                <a:gd name="T4" fmla="*/ 22 w 63"/>
                <a:gd name="T5" fmla="*/ 0 h 103"/>
                <a:gd name="T6" fmla="*/ 22 w 63"/>
                <a:gd name="T7" fmla="*/ 84 h 103"/>
                <a:gd name="T8" fmla="*/ 63 w 63"/>
                <a:gd name="T9" fmla="*/ 84 h 103"/>
                <a:gd name="T10" fmla="*/ 63 w 63"/>
                <a:gd name="T11" fmla="*/ 103 h 103"/>
                <a:gd name="T12" fmla="*/ 0 w 63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84"/>
                  </a:lnTo>
                  <a:lnTo>
                    <a:pt x="63" y="84"/>
                  </a:lnTo>
                  <a:lnTo>
                    <a:pt x="63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7" name="Freeform 56"/>
            <p:cNvSpPr>
              <a:spLocks/>
            </p:cNvSpPr>
            <p:nvPr userDrawn="1"/>
          </p:nvSpPr>
          <p:spPr bwMode="black">
            <a:xfrm>
              <a:off x="3333751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0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8" name="Freeform 57"/>
            <p:cNvSpPr>
              <a:spLocks/>
            </p:cNvSpPr>
            <p:nvPr userDrawn="1"/>
          </p:nvSpPr>
          <p:spPr bwMode="black">
            <a:xfrm>
              <a:off x="3400426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9" name="Freeform 58"/>
            <p:cNvSpPr>
              <a:spLocks/>
            </p:cNvSpPr>
            <p:nvPr userDrawn="1"/>
          </p:nvSpPr>
          <p:spPr bwMode="black">
            <a:xfrm>
              <a:off x="3519488" y="5791200"/>
              <a:ext cx="106363" cy="163513"/>
            </a:xfrm>
            <a:custGeom>
              <a:avLst/>
              <a:gdLst>
                <a:gd name="T0" fmla="*/ 0 w 67"/>
                <a:gd name="T1" fmla="*/ 103 h 103"/>
                <a:gd name="T2" fmla="*/ 0 w 67"/>
                <a:gd name="T3" fmla="*/ 0 h 103"/>
                <a:gd name="T4" fmla="*/ 66 w 67"/>
                <a:gd name="T5" fmla="*/ 0 h 103"/>
                <a:gd name="T6" fmla="*/ 66 w 67"/>
                <a:gd name="T7" fmla="*/ 19 h 103"/>
                <a:gd name="T8" fmla="*/ 22 w 67"/>
                <a:gd name="T9" fmla="*/ 19 h 103"/>
                <a:gd name="T10" fmla="*/ 22 w 67"/>
                <a:gd name="T11" fmla="*/ 41 h 103"/>
                <a:gd name="T12" fmla="*/ 62 w 67"/>
                <a:gd name="T13" fmla="*/ 41 h 103"/>
                <a:gd name="T14" fmla="*/ 62 w 67"/>
                <a:gd name="T15" fmla="*/ 59 h 103"/>
                <a:gd name="T16" fmla="*/ 22 w 67"/>
                <a:gd name="T17" fmla="*/ 59 h 103"/>
                <a:gd name="T18" fmla="*/ 22 w 67"/>
                <a:gd name="T19" fmla="*/ 84 h 103"/>
                <a:gd name="T20" fmla="*/ 67 w 67"/>
                <a:gd name="T21" fmla="*/ 84 h 103"/>
                <a:gd name="T22" fmla="*/ 67 w 67"/>
                <a:gd name="T23" fmla="*/ 103 h 103"/>
                <a:gd name="T24" fmla="*/ 0 w 6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103">
                  <a:moveTo>
                    <a:pt x="0" y="103"/>
                  </a:moveTo>
                  <a:lnTo>
                    <a:pt x="0" y="0"/>
                  </a:lnTo>
                  <a:lnTo>
                    <a:pt x="66" y="0"/>
                  </a:lnTo>
                  <a:lnTo>
                    <a:pt x="66" y="19"/>
                  </a:lnTo>
                  <a:lnTo>
                    <a:pt x="22" y="19"/>
                  </a:lnTo>
                  <a:lnTo>
                    <a:pt x="22" y="41"/>
                  </a:lnTo>
                  <a:lnTo>
                    <a:pt x="62" y="41"/>
                  </a:lnTo>
                  <a:lnTo>
                    <a:pt x="62" y="59"/>
                  </a:lnTo>
                  <a:lnTo>
                    <a:pt x="22" y="59"/>
                  </a:lnTo>
                  <a:lnTo>
                    <a:pt x="22" y="84"/>
                  </a:lnTo>
                  <a:lnTo>
                    <a:pt x="67" y="84"/>
                  </a:lnTo>
                  <a:lnTo>
                    <a:pt x="67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0" name="Freeform 59"/>
            <p:cNvSpPr>
              <a:spLocks/>
            </p:cNvSpPr>
            <p:nvPr userDrawn="1"/>
          </p:nvSpPr>
          <p:spPr bwMode="black">
            <a:xfrm>
              <a:off x="371157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1" name="Freeform 60"/>
            <p:cNvSpPr>
              <a:spLocks/>
            </p:cNvSpPr>
            <p:nvPr userDrawn="1"/>
          </p:nvSpPr>
          <p:spPr bwMode="black">
            <a:xfrm>
              <a:off x="37719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2" name="Freeform 61"/>
            <p:cNvSpPr>
              <a:spLocks/>
            </p:cNvSpPr>
            <p:nvPr userDrawn="1"/>
          </p:nvSpPr>
          <p:spPr bwMode="black">
            <a:xfrm>
              <a:off x="3968751" y="5791200"/>
              <a:ext cx="98425" cy="163513"/>
            </a:xfrm>
            <a:custGeom>
              <a:avLst/>
              <a:gdLst>
                <a:gd name="T0" fmla="*/ 0 w 62"/>
                <a:gd name="T1" fmla="*/ 103 h 103"/>
                <a:gd name="T2" fmla="*/ 0 w 62"/>
                <a:gd name="T3" fmla="*/ 0 h 103"/>
                <a:gd name="T4" fmla="*/ 62 w 62"/>
                <a:gd name="T5" fmla="*/ 0 h 103"/>
                <a:gd name="T6" fmla="*/ 62 w 62"/>
                <a:gd name="T7" fmla="*/ 19 h 103"/>
                <a:gd name="T8" fmla="*/ 22 w 62"/>
                <a:gd name="T9" fmla="*/ 19 h 103"/>
                <a:gd name="T10" fmla="*/ 22 w 62"/>
                <a:gd name="T11" fmla="*/ 43 h 103"/>
                <a:gd name="T12" fmla="*/ 57 w 62"/>
                <a:gd name="T13" fmla="*/ 43 h 103"/>
                <a:gd name="T14" fmla="*/ 57 w 62"/>
                <a:gd name="T15" fmla="*/ 61 h 103"/>
                <a:gd name="T16" fmla="*/ 22 w 62"/>
                <a:gd name="T17" fmla="*/ 61 h 103"/>
                <a:gd name="T18" fmla="*/ 22 w 62"/>
                <a:gd name="T19" fmla="*/ 103 h 103"/>
                <a:gd name="T20" fmla="*/ 0 w 62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" h="103">
                  <a:moveTo>
                    <a:pt x="0" y="10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19"/>
                  </a:lnTo>
                  <a:lnTo>
                    <a:pt x="22" y="19"/>
                  </a:lnTo>
                  <a:lnTo>
                    <a:pt x="22" y="43"/>
                  </a:lnTo>
                  <a:lnTo>
                    <a:pt x="57" y="43"/>
                  </a:lnTo>
                  <a:lnTo>
                    <a:pt x="57" y="61"/>
                  </a:lnTo>
                  <a:lnTo>
                    <a:pt x="22" y="61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3" name="Freeform 62"/>
            <p:cNvSpPr>
              <a:spLocks noEditPoints="1"/>
            </p:cNvSpPr>
            <p:nvPr userDrawn="1"/>
          </p:nvSpPr>
          <p:spPr bwMode="black">
            <a:xfrm>
              <a:off x="4081463" y="5788025"/>
              <a:ext cx="138113" cy="171450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4" name="Freeform 63"/>
            <p:cNvSpPr>
              <a:spLocks noEditPoints="1"/>
            </p:cNvSpPr>
            <p:nvPr userDrawn="1"/>
          </p:nvSpPr>
          <p:spPr bwMode="black">
            <a:xfrm>
              <a:off x="4244976" y="5791200"/>
              <a:ext cx="122238" cy="163513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5" name="Freeform 64"/>
            <p:cNvSpPr>
              <a:spLocks/>
            </p:cNvSpPr>
            <p:nvPr userDrawn="1"/>
          </p:nvSpPr>
          <p:spPr bwMode="black">
            <a:xfrm>
              <a:off x="4445001" y="5788025"/>
              <a:ext cx="114300" cy="171450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6" name="Freeform 65"/>
            <p:cNvSpPr>
              <a:spLocks/>
            </p:cNvSpPr>
            <p:nvPr userDrawn="1"/>
          </p:nvSpPr>
          <p:spPr bwMode="black">
            <a:xfrm>
              <a:off x="4583113" y="5791200"/>
              <a:ext cx="122238" cy="163513"/>
            </a:xfrm>
            <a:custGeom>
              <a:avLst/>
              <a:gdLst>
                <a:gd name="T0" fmla="*/ 0 w 77"/>
                <a:gd name="T1" fmla="*/ 103 h 103"/>
                <a:gd name="T2" fmla="*/ 0 w 77"/>
                <a:gd name="T3" fmla="*/ 0 h 103"/>
                <a:gd name="T4" fmla="*/ 22 w 77"/>
                <a:gd name="T5" fmla="*/ 0 h 103"/>
                <a:gd name="T6" fmla="*/ 22 w 77"/>
                <a:gd name="T7" fmla="*/ 39 h 103"/>
                <a:gd name="T8" fmla="*/ 55 w 77"/>
                <a:gd name="T9" fmla="*/ 39 h 103"/>
                <a:gd name="T10" fmla="*/ 55 w 77"/>
                <a:gd name="T11" fmla="*/ 0 h 103"/>
                <a:gd name="T12" fmla="*/ 77 w 77"/>
                <a:gd name="T13" fmla="*/ 0 h 103"/>
                <a:gd name="T14" fmla="*/ 77 w 77"/>
                <a:gd name="T15" fmla="*/ 103 h 103"/>
                <a:gd name="T16" fmla="*/ 55 w 77"/>
                <a:gd name="T17" fmla="*/ 103 h 103"/>
                <a:gd name="T18" fmla="*/ 55 w 77"/>
                <a:gd name="T19" fmla="*/ 58 h 103"/>
                <a:gd name="T20" fmla="*/ 22 w 77"/>
                <a:gd name="T21" fmla="*/ 58 h 103"/>
                <a:gd name="T22" fmla="*/ 22 w 77"/>
                <a:gd name="T23" fmla="*/ 103 h 103"/>
                <a:gd name="T24" fmla="*/ 0 w 77"/>
                <a:gd name="T2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22" y="39"/>
                  </a:lnTo>
                  <a:lnTo>
                    <a:pt x="55" y="39"/>
                  </a:lnTo>
                  <a:lnTo>
                    <a:pt x="55" y="0"/>
                  </a:lnTo>
                  <a:lnTo>
                    <a:pt x="77" y="0"/>
                  </a:lnTo>
                  <a:lnTo>
                    <a:pt x="77" y="103"/>
                  </a:lnTo>
                  <a:lnTo>
                    <a:pt x="55" y="103"/>
                  </a:lnTo>
                  <a:lnTo>
                    <a:pt x="55" y="58"/>
                  </a:lnTo>
                  <a:lnTo>
                    <a:pt x="22" y="58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7" name="Freeform 66"/>
            <p:cNvSpPr>
              <a:spLocks noEditPoints="1"/>
            </p:cNvSpPr>
            <p:nvPr userDrawn="1"/>
          </p:nvSpPr>
          <p:spPr bwMode="black">
            <a:xfrm>
              <a:off x="4722813" y="5791200"/>
              <a:ext cx="139700" cy="163513"/>
            </a:xfrm>
            <a:custGeom>
              <a:avLst/>
              <a:gdLst>
                <a:gd name="T0" fmla="*/ 33 w 88"/>
                <a:gd name="T1" fmla="*/ 0 h 103"/>
                <a:gd name="T2" fmla="*/ 55 w 88"/>
                <a:gd name="T3" fmla="*/ 0 h 103"/>
                <a:gd name="T4" fmla="*/ 88 w 88"/>
                <a:gd name="T5" fmla="*/ 103 h 103"/>
                <a:gd name="T6" fmla="*/ 65 w 88"/>
                <a:gd name="T7" fmla="*/ 103 h 103"/>
                <a:gd name="T8" fmla="*/ 58 w 88"/>
                <a:gd name="T9" fmla="*/ 80 h 103"/>
                <a:gd name="T10" fmla="*/ 29 w 88"/>
                <a:gd name="T11" fmla="*/ 80 h 103"/>
                <a:gd name="T12" fmla="*/ 23 w 88"/>
                <a:gd name="T13" fmla="*/ 103 h 103"/>
                <a:gd name="T14" fmla="*/ 0 w 88"/>
                <a:gd name="T15" fmla="*/ 103 h 103"/>
                <a:gd name="T16" fmla="*/ 33 w 88"/>
                <a:gd name="T17" fmla="*/ 0 h 103"/>
                <a:gd name="T18" fmla="*/ 34 w 88"/>
                <a:gd name="T19" fmla="*/ 63 h 103"/>
                <a:gd name="T20" fmla="*/ 54 w 88"/>
                <a:gd name="T21" fmla="*/ 63 h 103"/>
                <a:gd name="T22" fmla="*/ 43 w 88"/>
                <a:gd name="T23" fmla="*/ 28 h 103"/>
                <a:gd name="T24" fmla="*/ 34 w 88"/>
                <a:gd name="T25" fmla="*/ 6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03">
                  <a:moveTo>
                    <a:pt x="33" y="0"/>
                  </a:moveTo>
                  <a:lnTo>
                    <a:pt x="55" y="0"/>
                  </a:lnTo>
                  <a:lnTo>
                    <a:pt x="88" y="103"/>
                  </a:lnTo>
                  <a:lnTo>
                    <a:pt x="65" y="103"/>
                  </a:lnTo>
                  <a:lnTo>
                    <a:pt x="58" y="80"/>
                  </a:lnTo>
                  <a:lnTo>
                    <a:pt x="29" y="80"/>
                  </a:lnTo>
                  <a:lnTo>
                    <a:pt x="23" y="103"/>
                  </a:lnTo>
                  <a:lnTo>
                    <a:pt x="0" y="103"/>
                  </a:lnTo>
                  <a:lnTo>
                    <a:pt x="33" y="0"/>
                  </a:lnTo>
                  <a:close/>
                  <a:moveTo>
                    <a:pt x="34" y="63"/>
                  </a:moveTo>
                  <a:lnTo>
                    <a:pt x="54" y="63"/>
                  </a:lnTo>
                  <a:lnTo>
                    <a:pt x="43" y="28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8" name="Freeform 67"/>
            <p:cNvSpPr>
              <a:spLocks noEditPoints="1"/>
            </p:cNvSpPr>
            <p:nvPr userDrawn="1"/>
          </p:nvSpPr>
          <p:spPr bwMode="black">
            <a:xfrm>
              <a:off x="4879976" y="5791200"/>
              <a:ext cx="120650" cy="163513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9" name="Freeform 68"/>
            <p:cNvSpPr>
              <a:spLocks/>
            </p:cNvSpPr>
            <p:nvPr userDrawn="1"/>
          </p:nvSpPr>
          <p:spPr bwMode="black">
            <a:xfrm>
              <a:off x="5026026" y="5791200"/>
              <a:ext cx="34925" cy="163513"/>
            </a:xfrm>
            <a:custGeom>
              <a:avLst/>
              <a:gdLst>
                <a:gd name="T0" fmla="*/ 0 w 22"/>
                <a:gd name="T1" fmla="*/ 103 h 103"/>
                <a:gd name="T2" fmla="*/ 0 w 22"/>
                <a:gd name="T3" fmla="*/ 0 h 103"/>
                <a:gd name="T4" fmla="*/ 12 w 22"/>
                <a:gd name="T5" fmla="*/ 0 h 103"/>
                <a:gd name="T6" fmla="*/ 22 w 22"/>
                <a:gd name="T7" fmla="*/ 0 h 103"/>
                <a:gd name="T8" fmla="*/ 22 w 22"/>
                <a:gd name="T9" fmla="*/ 103 h 103"/>
                <a:gd name="T10" fmla="*/ 0 w 22"/>
                <a:gd name="T1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03">
                  <a:moveTo>
                    <a:pt x="0" y="103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22" y="0"/>
                  </a:lnTo>
                  <a:lnTo>
                    <a:pt x="22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0" name="Freeform 69"/>
            <p:cNvSpPr>
              <a:spLocks/>
            </p:cNvSpPr>
            <p:nvPr userDrawn="1"/>
          </p:nvSpPr>
          <p:spPr bwMode="black">
            <a:xfrm>
              <a:off x="5092701" y="5791200"/>
              <a:ext cx="120650" cy="163513"/>
            </a:xfrm>
            <a:custGeom>
              <a:avLst/>
              <a:gdLst>
                <a:gd name="T0" fmla="*/ 0 w 76"/>
                <a:gd name="T1" fmla="*/ 103 h 103"/>
                <a:gd name="T2" fmla="*/ 0 w 76"/>
                <a:gd name="T3" fmla="*/ 0 h 103"/>
                <a:gd name="T4" fmla="*/ 22 w 76"/>
                <a:gd name="T5" fmla="*/ 0 h 103"/>
                <a:gd name="T6" fmla="*/ 55 w 76"/>
                <a:gd name="T7" fmla="*/ 66 h 103"/>
                <a:gd name="T8" fmla="*/ 55 w 76"/>
                <a:gd name="T9" fmla="*/ 0 h 103"/>
                <a:gd name="T10" fmla="*/ 76 w 76"/>
                <a:gd name="T11" fmla="*/ 0 h 103"/>
                <a:gd name="T12" fmla="*/ 76 w 76"/>
                <a:gd name="T13" fmla="*/ 103 h 103"/>
                <a:gd name="T14" fmla="*/ 54 w 76"/>
                <a:gd name="T15" fmla="*/ 103 h 103"/>
                <a:gd name="T16" fmla="*/ 21 w 76"/>
                <a:gd name="T17" fmla="*/ 37 h 103"/>
                <a:gd name="T18" fmla="*/ 21 w 76"/>
                <a:gd name="T19" fmla="*/ 103 h 103"/>
                <a:gd name="T20" fmla="*/ 0 w 76"/>
                <a:gd name="T21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3">
                  <a:moveTo>
                    <a:pt x="0" y="103"/>
                  </a:moveTo>
                  <a:lnTo>
                    <a:pt x="0" y="0"/>
                  </a:lnTo>
                  <a:lnTo>
                    <a:pt x="22" y="0"/>
                  </a:lnTo>
                  <a:lnTo>
                    <a:pt x="55" y="66"/>
                  </a:lnTo>
                  <a:lnTo>
                    <a:pt x="55" y="0"/>
                  </a:lnTo>
                  <a:lnTo>
                    <a:pt x="76" y="0"/>
                  </a:lnTo>
                  <a:lnTo>
                    <a:pt x="76" y="103"/>
                  </a:lnTo>
                  <a:lnTo>
                    <a:pt x="54" y="103"/>
                  </a:lnTo>
                  <a:lnTo>
                    <a:pt x="21" y="37"/>
                  </a:lnTo>
                  <a:lnTo>
                    <a:pt x="21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1" name="Freeform 70"/>
            <p:cNvSpPr>
              <a:spLocks/>
            </p:cNvSpPr>
            <p:nvPr userDrawn="1"/>
          </p:nvSpPr>
          <p:spPr bwMode="black">
            <a:xfrm>
              <a:off x="5237163" y="5788025"/>
              <a:ext cx="133350" cy="171450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2" name="Freeform 71"/>
            <p:cNvSpPr>
              <a:spLocks/>
            </p:cNvSpPr>
            <p:nvPr userDrawn="1"/>
          </p:nvSpPr>
          <p:spPr bwMode="black">
            <a:xfrm>
              <a:off x="5400676" y="5919788"/>
              <a:ext cx="36513" cy="34925"/>
            </a:xfrm>
            <a:custGeom>
              <a:avLst/>
              <a:gdLst>
                <a:gd name="T0" fmla="*/ 23 w 23"/>
                <a:gd name="T1" fmla="*/ 0 h 22"/>
                <a:gd name="T2" fmla="*/ 23 w 23"/>
                <a:gd name="T3" fmla="*/ 22 h 22"/>
                <a:gd name="T4" fmla="*/ 0 w 23"/>
                <a:gd name="T5" fmla="*/ 22 h 22"/>
                <a:gd name="T6" fmla="*/ 0 w 23"/>
                <a:gd name="T7" fmla="*/ 0 h 22"/>
                <a:gd name="T8" fmla="*/ 12 w 23"/>
                <a:gd name="T9" fmla="*/ 0 h 22"/>
                <a:gd name="T10" fmla="*/ 23 w 23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2">
                  <a:moveTo>
                    <a:pt x="23" y="0"/>
                  </a:moveTo>
                  <a:lnTo>
                    <a:pt x="23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33" name="Gruppieren 32"/>
          <p:cNvGrpSpPr/>
          <p:nvPr userDrawn="1"/>
        </p:nvGrpSpPr>
        <p:grpSpPr bwMode="black">
          <a:xfrm>
            <a:off x="6086475" y="5511800"/>
            <a:ext cx="1314450" cy="649288"/>
            <a:chOff x="323850" y="5511800"/>
            <a:chExt cx="1314450" cy="649288"/>
          </a:xfrm>
        </p:grpSpPr>
        <p:sp>
          <p:nvSpPr>
            <p:cNvPr id="34" name="Freeform 26"/>
            <p:cNvSpPr>
              <a:spLocks/>
            </p:cNvSpPr>
            <p:nvPr userDrawn="1"/>
          </p:nvSpPr>
          <p:spPr bwMode="black">
            <a:xfrm>
              <a:off x="323850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42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42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5" name="Freeform 27"/>
            <p:cNvSpPr>
              <a:spLocks/>
            </p:cNvSpPr>
            <p:nvPr userDrawn="1"/>
          </p:nvSpPr>
          <p:spPr bwMode="black">
            <a:xfrm>
              <a:off x="723900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3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6" name="Freeform 28"/>
            <p:cNvSpPr>
              <a:spLocks/>
            </p:cNvSpPr>
            <p:nvPr userDrawn="1"/>
          </p:nvSpPr>
          <p:spPr bwMode="black">
            <a:xfrm>
              <a:off x="1116013" y="5808663"/>
              <a:ext cx="131763" cy="131763"/>
            </a:xfrm>
            <a:custGeom>
              <a:avLst/>
              <a:gdLst>
                <a:gd name="T0" fmla="*/ 0 w 83"/>
                <a:gd name="T1" fmla="*/ 83 h 83"/>
                <a:gd name="T2" fmla="*/ 0 w 83"/>
                <a:gd name="T3" fmla="*/ 0 h 83"/>
                <a:gd name="T4" fmla="*/ 39 w 83"/>
                <a:gd name="T5" fmla="*/ 0 h 83"/>
                <a:gd name="T6" fmla="*/ 83 w 83"/>
                <a:gd name="T7" fmla="*/ 0 h 83"/>
                <a:gd name="T8" fmla="*/ 83 w 83"/>
                <a:gd name="T9" fmla="*/ 83 h 83"/>
                <a:gd name="T10" fmla="*/ 0 w 83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83">
                  <a:moveTo>
                    <a:pt x="0" y="83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83" y="0"/>
                  </a:lnTo>
                  <a:lnTo>
                    <a:pt x="83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7" name="Freeform 29"/>
            <p:cNvSpPr>
              <a:spLocks/>
            </p:cNvSpPr>
            <p:nvPr userDrawn="1"/>
          </p:nvSpPr>
          <p:spPr bwMode="black">
            <a:xfrm>
              <a:off x="1508125" y="5808663"/>
              <a:ext cx="130175" cy="131763"/>
            </a:xfrm>
            <a:custGeom>
              <a:avLst/>
              <a:gdLst>
                <a:gd name="T0" fmla="*/ 0 w 82"/>
                <a:gd name="T1" fmla="*/ 83 h 83"/>
                <a:gd name="T2" fmla="*/ 0 w 82"/>
                <a:gd name="T3" fmla="*/ 0 h 83"/>
                <a:gd name="T4" fmla="*/ 44 w 82"/>
                <a:gd name="T5" fmla="*/ 0 h 83"/>
                <a:gd name="T6" fmla="*/ 82 w 82"/>
                <a:gd name="T7" fmla="*/ 0 h 83"/>
                <a:gd name="T8" fmla="*/ 82 w 82"/>
                <a:gd name="T9" fmla="*/ 83 h 83"/>
                <a:gd name="T10" fmla="*/ 0 w 82"/>
                <a:gd name="T1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" h="83">
                  <a:moveTo>
                    <a:pt x="0" y="83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82" y="0"/>
                  </a:lnTo>
                  <a:lnTo>
                    <a:pt x="82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8" name="Freeform 30"/>
            <p:cNvSpPr>
              <a:spLocks/>
            </p:cNvSpPr>
            <p:nvPr userDrawn="1"/>
          </p:nvSpPr>
          <p:spPr bwMode="black">
            <a:xfrm>
              <a:off x="323850" y="5511800"/>
              <a:ext cx="530225" cy="649288"/>
            </a:xfrm>
            <a:custGeom>
              <a:avLst/>
              <a:gdLst>
                <a:gd name="T0" fmla="*/ 306 w 310"/>
                <a:gd name="T1" fmla="*/ 0 h 378"/>
                <a:gd name="T2" fmla="*/ 4 w 310"/>
                <a:gd name="T3" fmla="*/ 0 h 378"/>
                <a:gd name="T4" fmla="*/ 0 w 310"/>
                <a:gd name="T5" fmla="*/ 133 h 378"/>
                <a:gd name="T6" fmla="*/ 20 w 310"/>
                <a:gd name="T7" fmla="*/ 136 h 378"/>
                <a:gd name="T8" fmla="*/ 51 w 310"/>
                <a:gd name="T9" fmla="*/ 49 h 378"/>
                <a:gd name="T10" fmla="*/ 125 w 310"/>
                <a:gd name="T11" fmla="*/ 18 h 378"/>
                <a:gd name="T12" fmla="*/ 125 w 310"/>
                <a:gd name="T13" fmla="*/ 297 h 378"/>
                <a:gd name="T14" fmla="*/ 114 w 310"/>
                <a:gd name="T15" fmla="*/ 344 h 378"/>
                <a:gd name="T16" fmla="*/ 84 w 310"/>
                <a:gd name="T17" fmla="*/ 356 h 378"/>
                <a:gd name="T18" fmla="*/ 62 w 310"/>
                <a:gd name="T19" fmla="*/ 356 h 378"/>
                <a:gd name="T20" fmla="*/ 62 w 310"/>
                <a:gd name="T21" fmla="*/ 378 h 378"/>
                <a:gd name="T22" fmla="*/ 248 w 310"/>
                <a:gd name="T23" fmla="*/ 378 h 378"/>
                <a:gd name="T24" fmla="*/ 248 w 310"/>
                <a:gd name="T25" fmla="*/ 356 h 378"/>
                <a:gd name="T26" fmla="*/ 227 w 310"/>
                <a:gd name="T27" fmla="*/ 356 h 378"/>
                <a:gd name="T28" fmla="*/ 196 w 310"/>
                <a:gd name="T29" fmla="*/ 344 h 378"/>
                <a:gd name="T30" fmla="*/ 185 w 310"/>
                <a:gd name="T31" fmla="*/ 297 h 378"/>
                <a:gd name="T32" fmla="*/ 185 w 310"/>
                <a:gd name="T33" fmla="*/ 18 h 378"/>
                <a:gd name="T34" fmla="*/ 259 w 310"/>
                <a:gd name="T35" fmla="*/ 49 h 378"/>
                <a:gd name="T36" fmla="*/ 290 w 310"/>
                <a:gd name="T37" fmla="*/ 136 h 378"/>
                <a:gd name="T38" fmla="*/ 310 w 310"/>
                <a:gd name="T39" fmla="*/ 133 h 378"/>
                <a:gd name="T40" fmla="*/ 306 w 310"/>
                <a:gd name="T41" fmla="*/ 0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10" h="378">
                  <a:moveTo>
                    <a:pt x="306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4" y="97"/>
                    <a:pt x="34" y="68"/>
                    <a:pt x="51" y="49"/>
                  </a:cubicBezTo>
                  <a:cubicBezTo>
                    <a:pt x="69" y="29"/>
                    <a:pt x="93" y="19"/>
                    <a:pt x="125" y="18"/>
                  </a:cubicBezTo>
                  <a:cubicBezTo>
                    <a:pt x="125" y="297"/>
                    <a:pt x="125" y="297"/>
                    <a:pt x="125" y="297"/>
                  </a:cubicBezTo>
                  <a:cubicBezTo>
                    <a:pt x="125" y="321"/>
                    <a:pt x="122" y="337"/>
                    <a:pt x="114" y="344"/>
                  </a:cubicBezTo>
                  <a:cubicBezTo>
                    <a:pt x="108" y="350"/>
                    <a:pt x="98" y="354"/>
                    <a:pt x="84" y="356"/>
                  </a:cubicBezTo>
                  <a:cubicBezTo>
                    <a:pt x="79" y="356"/>
                    <a:pt x="72" y="356"/>
                    <a:pt x="62" y="356"/>
                  </a:cubicBezTo>
                  <a:cubicBezTo>
                    <a:pt x="62" y="378"/>
                    <a:pt x="62" y="378"/>
                    <a:pt x="62" y="378"/>
                  </a:cubicBezTo>
                  <a:cubicBezTo>
                    <a:pt x="248" y="378"/>
                    <a:pt x="248" y="378"/>
                    <a:pt x="248" y="378"/>
                  </a:cubicBezTo>
                  <a:cubicBezTo>
                    <a:pt x="248" y="356"/>
                    <a:pt x="248" y="356"/>
                    <a:pt x="248" y="356"/>
                  </a:cubicBezTo>
                  <a:cubicBezTo>
                    <a:pt x="238" y="356"/>
                    <a:pt x="231" y="356"/>
                    <a:pt x="227" y="356"/>
                  </a:cubicBezTo>
                  <a:cubicBezTo>
                    <a:pt x="212" y="354"/>
                    <a:pt x="202" y="350"/>
                    <a:pt x="196" y="344"/>
                  </a:cubicBezTo>
                  <a:cubicBezTo>
                    <a:pt x="189" y="337"/>
                    <a:pt x="185" y="321"/>
                    <a:pt x="185" y="297"/>
                  </a:cubicBezTo>
                  <a:cubicBezTo>
                    <a:pt x="185" y="18"/>
                    <a:pt x="185" y="18"/>
                    <a:pt x="185" y="18"/>
                  </a:cubicBezTo>
                  <a:cubicBezTo>
                    <a:pt x="217" y="19"/>
                    <a:pt x="241" y="29"/>
                    <a:pt x="259" y="49"/>
                  </a:cubicBezTo>
                  <a:cubicBezTo>
                    <a:pt x="276" y="68"/>
                    <a:pt x="286" y="97"/>
                    <a:pt x="290" y="136"/>
                  </a:cubicBezTo>
                  <a:cubicBezTo>
                    <a:pt x="310" y="133"/>
                    <a:pt x="310" y="133"/>
                    <a:pt x="310" y="133"/>
                  </a:cubicBezTo>
                  <a:lnTo>
                    <a:pt x="3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011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50"/>
            <a:ext cx="10874374" cy="830997"/>
          </a:xfrm>
          <a:noFill/>
        </p:spPr>
        <p:txBody>
          <a:bodyPr wrap="square" lIns="0" tIns="0">
            <a:spAutoFit/>
          </a:bodyPr>
          <a:lstStyle>
            <a:lvl1pPr>
              <a:defRPr sz="60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Agenda</a:t>
            </a:r>
          </a:p>
        </p:txBody>
      </p:sp>
    </p:spTree>
    <p:extLst>
      <p:ext uri="{BB962C8B-B14F-4D97-AF65-F5344CB8AC3E}">
        <p14:creationId xmlns:p14="http://schemas.microsoft.com/office/powerpoint/2010/main" val="119582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vertical"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white">
          <a:xfrm>
            <a:off x="5760890" y="0"/>
            <a:ext cx="5761186" cy="64801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12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323849"/>
            <a:ext cx="5113187" cy="4860926"/>
          </a:xfrm>
          <a:noFill/>
        </p:spPr>
        <p:txBody>
          <a:bodyPr wrap="square" lIns="0" tIns="0">
            <a:no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/>
              <a:t>Content/</a:t>
            </a:r>
            <a:br>
              <a:rPr lang="en-US" dirty="0"/>
            </a:br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3155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Living Magent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3851" y="1762125"/>
            <a:ext cx="10874374" cy="1661993"/>
          </a:xfrm>
          <a:noFill/>
        </p:spPr>
        <p:txBody>
          <a:bodyPr wrap="square" lIns="0" tIns="0">
            <a:spAutoFit/>
          </a:bodyPr>
          <a:lstStyle>
            <a:lvl1pPr>
              <a:defRPr sz="6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</a:t>
            </a:r>
            <a:br>
              <a:rPr lang="en-US" dirty="0"/>
            </a:br>
            <a:r>
              <a:rPr lang="en-US" dirty="0"/>
              <a:t>60 (75) 90 PT</a:t>
            </a:r>
          </a:p>
        </p:txBody>
      </p:sp>
    </p:spTree>
    <p:extLst>
      <p:ext uri="{BB962C8B-B14F-4D97-AF65-F5344CB8AC3E}">
        <p14:creationId xmlns:p14="http://schemas.microsoft.com/office/powerpoint/2010/main" val="30829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ving Magenta vertical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r="4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gray">
          <a:xfrm>
            <a:off x="5761038" y="0"/>
            <a:ext cx="5761037" cy="647866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72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6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6084888" y="323850"/>
            <a:ext cx="5113337" cy="5184775"/>
          </a:xfrm>
          <a:noFill/>
        </p:spPr>
        <p:txBody>
          <a:bodyPr wrap="square" lIns="0" tIns="0" anchor="ctr">
            <a:noAutofit/>
          </a:bodyPr>
          <a:lstStyle>
            <a:lvl1pPr>
              <a:defRPr sz="4500" baseline="0" smtClean="0">
                <a:solidFill>
                  <a:schemeClr val="tx2"/>
                </a:solidFill>
                <a:latin typeface="TeleGrotesk Headline" pitchFamily="2" charset="0"/>
              </a:defRPr>
            </a:lvl1pPr>
          </a:lstStyle>
          <a:p>
            <a:r>
              <a:rPr lang="en-US" dirty="0"/>
              <a:t>01</a:t>
            </a:r>
            <a:br>
              <a:rPr lang="en-US" dirty="0"/>
            </a:br>
            <a:r>
              <a:rPr lang="en-US" dirty="0" err="1"/>
              <a:t>TeleGrotesk</a:t>
            </a:r>
            <a:r>
              <a:rPr lang="en-US" dirty="0"/>
              <a:t> Headline</a:t>
            </a:r>
            <a:br>
              <a:rPr lang="en-US" dirty="0"/>
            </a:br>
            <a:r>
              <a:rPr lang="en-US" dirty="0"/>
              <a:t>(45) 60 PT</a:t>
            </a:r>
          </a:p>
        </p:txBody>
      </p:sp>
    </p:spTree>
    <p:extLst>
      <p:ext uri="{BB962C8B-B14F-4D97-AF65-F5344CB8AC3E}">
        <p14:creationId xmlns:p14="http://schemas.microsoft.com/office/powerpoint/2010/main" val="60690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7621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97003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0916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-1" y="703"/>
            <a:ext cx="11522075" cy="6478767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44027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006103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48825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32280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420619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81131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50627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533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323849" y="324000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8"/>
          <a:stretch>
            <a:fillRect/>
          </a:stretch>
        </p:blipFill>
        <p:spPr bwMode="lt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</a:t>
            </a:r>
            <a:br>
              <a:rPr lang="en-US" dirty="0"/>
            </a:b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0" y="4536000"/>
            <a:ext cx="10869614" cy="384080"/>
          </a:xfrm>
        </p:spPr>
        <p:txBody>
          <a:bodyPr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19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0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1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2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3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4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5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6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7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8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29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0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1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2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3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4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4B4B4B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165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778033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-1" y="0"/>
            <a:ext cx="11522075" cy="6480175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54148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52760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" y="120"/>
            <a:ext cx="11522069" cy="6478764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hu-HU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/>
              <a:t>yyyy.mm.dd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‹#›</a:t>
            </a:fld>
            <a:endParaRPr lang="hu-HU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120"/>
            <a:ext cx="11522072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89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0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hu-HU"/>
              <a:t>TeleGrotesk HEADLINE (Ultra)</a:t>
            </a:r>
            <a:br>
              <a:rPr lang="hu-HU"/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hu-HU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oleObject" Target="../embeddings/oleObject31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tags" Target="../tags/tag36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image" Target="../media/image26.emf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vmlDrawing" Target="../drawings/vmlDrawing31.vml"/><Relationship Id="rId30" Type="http://schemas.openxmlformats.org/officeDocument/2006/relationships/image" Target="../media/image2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hu-HU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dirty="0"/>
              <a:t>Click to edit text</a:t>
            </a:r>
          </a:p>
          <a:p>
            <a:pPr lvl="1"/>
            <a:r>
              <a:rPr lang="hu-HU" noProof="0" dirty="0"/>
              <a:t>Second level</a:t>
            </a:r>
          </a:p>
          <a:p>
            <a:pPr lvl="2"/>
            <a:r>
              <a:rPr lang="hu-HU" noProof="0" dirty="0"/>
              <a:t>Third level</a:t>
            </a:r>
          </a:p>
          <a:p>
            <a:pPr lvl="3"/>
            <a:r>
              <a:rPr lang="hu-HU" noProof="0" dirty="0"/>
              <a:t>Fourth level</a:t>
            </a:r>
          </a:p>
          <a:p>
            <a:pPr lvl="4"/>
            <a:r>
              <a:rPr lang="hu-HU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116000" y="5961950"/>
            <a:ext cx="6696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yyyy.mm.d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1513" y="5961950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noProof="0" smtClean="0"/>
              <a:pPr fontAlgn="base">
                <a:spcAft>
                  <a:spcPct val="0"/>
                </a:spcAft>
              </a:pPr>
              <a:t>‹#›</a:t>
            </a:fld>
            <a:endParaRPr lang="hu-HU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878000" y="5961950"/>
            <a:ext cx="5189538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/>
              <a:t>– Strictly confidential, Confidential, Internal–     Author /Presentation Topic</a:t>
            </a:r>
          </a:p>
        </p:txBody>
      </p:sp>
      <p:pic>
        <p:nvPicPr>
          <p:cNvPr id="26" name="Grafik 25" descr="T_Logo_3c_Slogan_p_HU.emf"/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" y="5911200"/>
            <a:ext cx="2044104" cy="360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93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719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0" orient="horz" pos="703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hu-HU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dirty="0"/>
              <a:t>Click to edit text</a:t>
            </a:r>
          </a:p>
          <a:p>
            <a:pPr lvl="1"/>
            <a:r>
              <a:rPr lang="hu-HU" noProof="0" dirty="0"/>
              <a:t>Second level</a:t>
            </a:r>
          </a:p>
          <a:p>
            <a:pPr lvl="2"/>
            <a:r>
              <a:rPr lang="hu-HU" noProof="0" dirty="0"/>
              <a:t>Third level</a:t>
            </a:r>
          </a:p>
          <a:p>
            <a:pPr lvl="3"/>
            <a:r>
              <a:rPr lang="hu-HU" noProof="0" dirty="0"/>
              <a:t>Fourth level</a:t>
            </a:r>
          </a:p>
          <a:p>
            <a:pPr lvl="4"/>
            <a:r>
              <a:rPr lang="hu-HU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961950"/>
            <a:ext cx="8280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yyyy.mm.dd</a:t>
            </a:r>
            <a:endParaRPr lang="hu-HU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961950"/>
            <a:ext cx="3600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hu-HU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961950"/>
            <a:ext cx="51480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>
                <a:solidFill>
                  <a:srgbClr val="4B4B4B"/>
                </a:solidFill>
              </a:rPr>
              <a:t>– Strictly confidential, Confidential, Internal–     Author/Presentation Topic</a:t>
            </a:r>
          </a:p>
        </p:txBody>
      </p:sp>
      <p:pic>
        <p:nvPicPr>
          <p:cNvPr id="26" name="Grafik 25" descr="T_Logo_3c_Slogan_p_HU.emf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" y="5911200"/>
            <a:ext cx="204410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579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4192" r:id="rId11"/>
    <p:sldLayoutId id="2147484487" r:id="rId12"/>
  </p:sldLayoutIdLst>
  <p:transition spd="med"/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24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1">
          <a:blip r:embed="rId1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hu-HU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dirty="0"/>
              <a:t>Click to edit text</a:t>
            </a:r>
          </a:p>
          <a:p>
            <a:pPr lvl="1"/>
            <a:r>
              <a:rPr lang="hu-HU" noProof="0" dirty="0"/>
              <a:t>Second level</a:t>
            </a:r>
          </a:p>
          <a:p>
            <a:pPr lvl="2"/>
            <a:r>
              <a:rPr lang="hu-HU" noProof="0" dirty="0"/>
              <a:t>Third level</a:t>
            </a:r>
          </a:p>
          <a:p>
            <a:pPr lvl="3"/>
            <a:r>
              <a:rPr lang="hu-HU" noProof="0" dirty="0"/>
              <a:t>Fourth level</a:t>
            </a:r>
          </a:p>
          <a:p>
            <a:pPr lvl="4"/>
            <a:r>
              <a:rPr lang="hu-HU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961950"/>
            <a:ext cx="828000" cy="274637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yyyy.mm.dd</a:t>
            </a:r>
            <a:endParaRPr lang="hu-HU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961950"/>
            <a:ext cx="3600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hu-HU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961950"/>
            <a:ext cx="51480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dirty="0">
                <a:solidFill>
                  <a:srgbClr val="4B4B4B"/>
                </a:solidFill>
              </a:rPr>
              <a:t>– Strictly confidential, Confidential, Internal–     Author/Presentation Topic</a:t>
            </a:r>
          </a:p>
        </p:txBody>
      </p:sp>
      <p:pic>
        <p:nvPicPr>
          <p:cNvPr id="26" name="Grafik 25" descr="T_Logo_3c_Slogan_p_HU.emf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" y="5911200"/>
            <a:ext cx="204410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72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</p:sldLayoutIdLst>
  <p:transition spd="med"/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24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 err="1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dirty="0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15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5" r:id="rId1"/>
    <p:sldLayoutId id="2147484406" r:id="rId2"/>
    <p:sldLayoutId id="2147484407" r:id="rId3"/>
    <p:sldLayoutId id="2147484408" r:id="rId4"/>
    <p:sldLayoutId id="2147484409" r:id="rId5"/>
    <p:sldLayoutId id="2147484410" r:id="rId6"/>
    <p:sldLayoutId id="2147484411" r:id="rId7"/>
    <p:sldLayoutId id="2147484412" r:id="rId8"/>
    <p:sldLayoutId id="2147484413" r:id="rId9"/>
    <p:sldLayoutId id="2147484414" r:id="rId10"/>
    <p:sldLayoutId id="2147484415" r:id="rId11"/>
    <p:sldLayoutId id="2147484416" r:id="rId12"/>
    <p:sldLayoutId id="2147484417" r:id="rId13"/>
    <p:sldLayoutId id="2147484418" r:id="rId14"/>
    <p:sldLayoutId id="2147484419" r:id="rId15"/>
    <p:sldLayoutId id="2147484420" r:id="rId16"/>
    <p:sldLayoutId id="2147484421" r:id="rId17"/>
    <p:sldLayoutId id="2147484422" r:id="rId18"/>
    <p:sldLayoutId id="2147484423" r:id="rId19"/>
    <p:sldLayoutId id="2147484424" r:id="rId20"/>
    <p:sldLayoutId id="2147484425" r:id="rId21"/>
    <p:sldLayoutId id="2147484426" r:id="rId22"/>
    <p:sldLayoutId id="2147484427" r:id="rId23"/>
    <p:sldLayoutId id="2147484428" r:id="rId24"/>
    <p:sldLayoutId id="214748442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70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674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204">
          <p15:clr>
            <a:srgbClr val="F26B43"/>
          </p15:clr>
        </p15:guide>
        <p15:guide id="11" pos="1848">
          <p15:clr>
            <a:srgbClr val="F26B43"/>
          </p15:clr>
        </p15:guide>
        <p15:guide id="12" pos="1939">
          <p15:clr>
            <a:srgbClr val="F26B43"/>
          </p15:clr>
        </p15:guide>
        <p15:guide id="13" pos="3674">
          <p15:clr>
            <a:srgbClr val="F26B43"/>
          </p15:clr>
        </p15:guide>
        <p15:guide id="14" pos="3584">
          <p15:clr>
            <a:srgbClr val="F26B43"/>
          </p15:clr>
        </p15:guide>
        <p15:guide id="15" pos="5410">
          <p15:clr>
            <a:srgbClr val="F26B43"/>
          </p15:clr>
        </p15:guide>
        <p15:guide id="16" pos="53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4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sv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02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23851" y="323850"/>
            <a:ext cx="10874374" cy="1495794"/>
          </a:xfrm>
        </p:spPr>
        <p:txBody>
          <a:bodyPr/>
          <a:lstStyle/>
          <a:p>
            <a:r>
              <a:rPr lang="hu-HU" sz="5400" dirty="0"/>
              <a:t>biztonsági tesztelés </a:t>
            </a:r>
            <a:br>
              <a:rPr lang="hu-HU" sz="5400" dirty="0"/>
            </a:br>
            <a:r>
              <a:rPr lang="hu-HU" sz="5400" dirty="0"/>
              <a:t>A közösségi élmény</a:t>
            </a:r>
            <a:endParaRPr lang="en-US" sz="4000" dirty="0">
              <a:latin typeface="TeleGrotesk Headline" pitchFamily="2" charset="0"/>
            </a:endParaRPr>
          </a:p>
        </p:txBody>
      </p:sp>
      <p:sp>
        <p:nvSpPr>
          <p:cNvPr id="3" name="Textplatzhalter 2"/>
          <p:cNvSpPr txBox="1">
            <a:spLocks/>
          </p:cNvSpPr>
          <p:nvPr/>
        </p:nvSpPr>
        <p:spPr>
          <a:xfrm>
            <a:off x="323851" y="3361659"/>
            <a:ext cx="10874375" cy="512090"/>
          </a:xfrm>
          <a:prstGeom prst="rect">
            <a:avLst/>
          </a:prstGeom>
        </p:spPr>
        <p:txBody>
          <a:bodyPr/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Tx/>
            </a:pPr>
            <a:r>
              <a:rPr lang="hu-HU" sz="2000" dirty="0">
                <a:solidFill>
                  <a:schemeClr val="bg1"/>
                </a:solidFill>
              </a:rPr>
              <a:t>Hári Krisztián - Magyar Telekom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315" y="2636137"/>
            <a:ext cx="2250079" cy="2225244"/>
          </a:xfrm>
          <a:prstGeom prst="ellipse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6107" y="3852499"/>
            <a:ext cx="937927" cy="937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01724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0ED94775-AF0E-4279-A36D-0111F5835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re figyeljünk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7ADB9C9E-429F-43D6-A973-59DCE4D3B6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10</a:t>
            </a:fld>
            <a:endParaRPr lang="hu-HU"/>
          </a:p>
        </p:txBody>
      </p:sp>
      <p:sp>
        <p:nvSpPr>
          <p:cNvPr id="11" name="TextBox 75">
            <a:extLst>
              <a:ext uri="{FF2B5EF4-FFF2-40B4-BE49-F238E27FC236}">
                <a16:creationId xmlns:a16="http://schemas.microsoft.com/office/drawing/2014/main" id="{327E7292-2394-4360-BA9A-55C4FD4DFD0F}"/>
              </a:ext>
            </a:extLst>
          </p:cNvPr>
          <p:cNvSpPr txBox="1"/>
          <p:nvPr/>
        </p:nvSpPr>
        <p:spPr>
          <a:xfrm>
            <a:off x="1762756" y="1629978"/>
            <a:ext cx="3667804" cy="47401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 algn="just"/>
            <a:r>
              <a:rPr lang="hu-HU" sz="1200" dirty="0">
                <a:ea typeface="Open Sans Light" panose="020B0306030504020204" pitchFamily="34" charset="0"/>
                <a:cs typeface="Lato Light"/>
              </a:rPr>
              <a:t>A bejelentő nem okozhat kárt a cégnek, csak neki jelenti be, nem módosít, nem töröl, nem menti az információt</a:t>
            </a:r>
            <a:r>
              <a:rPr lang="en-US" sz="1200" dirty="0">
                <a:ea typeface="Open Sans Light" panose="020B0306030504020204" pitchFamily="34" charset="0"/>
                <a:cs typeface="Lato Light"/>
              </a:rPr>
              <a:t>.</a:t>
            </a:r>
          </a:p>
        </p:txBody>
      </p:sp>
      <p:sp>
        <p:nvSpPr>
          <p:cNvPr id="12" name="Round Same Side Corner Rectangle 32">
            <a:extLst>
              <a:ext uri="{FF2B5EF4-FFF2-40B4-BE49-F238E27FC236}">
                <a16:creationId xmlns:a16="http://schemas.microsoft.com/office/drawing/2014/main" id="{026FCFFF-FE49-461D-AD6B-C10B05173CD4}"/>
              </a:ext>
            </a:extLst>
          </p:cNvPr>
          <p:cNvSpPr/>
          <p:nvPr/>
        </p:nvSpPr>
        <p:spPr>
          <a:xfrm rot="10800000" flipH="1">
            <a:off x="1739329" y="1434337"/>
            <a:ext cx="51827" cy="626031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665" tIns="51833" rIns="103665" bIns="51833" rtlCol="0" anchor="ctr"/>
          <a:lstStyle/>
          <a:p>
            <a:pPr algn="ctr"/>
            <a:endParaRPr lang="bg-BG" sz="1087" dirty="0">
              <a:latin typeface="Lato Light"/>
            </a:endParaRPr>
          </a:p>
        </p:txBody>
      </p:sp>
      <p:sp>
        <p:nvSpPr>
          <p:cNvPr id="13" name="TextBox 37">
            <a:extLst>
              <a:ext uri="{FF2B5EF4-FFF2-40B4-BE49-F238E27FC236}">
                <a16:creationId xmlns:a16="http://schemas.microsoft.com/office/drawing/2014/main" id="{157F9E0F-A453-4A53-977F-3D4FEA5029EB}"/>
              </a:ext>
            </a:extLst>
          </p:cNvPr>
          <p:cNvSpPr txBox="1"/>
          <p:nvPr/>
        </p:nvSpPr>
        <p:spPr>
          <a:xfrm>
            <a:off x="1142252" y="1263204"/>
            <a:ext cx="536780" cy="850666"/>
          </a:xfrm>
          <a:prstGeom prst="rect">
            <a:avLst/>
          </a:prstGeom>
          <a:noFill/>
        </p:spPr>
        <p:txBody>
          <a:bodyPr wrap="none" lIns="86407" tIns="43204" rIns="86407" bIns="43204" rtlCol="0">
            <a:spAutoFit/>
          </a:bodyPr>
          <a:lstStyle/>
          <a:p>
            <a:r>
              <a:rPr lang="id-ID" sz="4961" b="1" dirty="0">
                <a:latin typeface="Lato Regular"/>
                <a:cs typeface="Lato Regular"/>
              </a:rPr>
              <a:t>1</a:t>
            </a:r>
          </a:p>
        </p:txBody>
      </p:sp>
      <p:sp>
        <p:nvSpPr>
          <p:cNvPr id="14" name="TextBox 74">
            <a:extLst>
              <a:ext uri="{FF2B5EF4-FFF2-40B4-BE49-F238E27FC236}">
                <a16:creationId xmlns:a16="http://schemas.microsoft.com/office/drawing/2014/main" id="{8278F71F-4F1C-400D-8029-3E063D0735DF}"/>
              </a:ext>
            </a:extLst>
          </p:cNvPr>
          <p:cNvSpPr txBox="1"/>
          <p:nvPr/>
        </p:nvSpPr>
        <p:spPr>
          <a:xfrm>
            <a:off x="1816089" y="1407361"/>
            <a:ext cx="425824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12" b="1" dirty="0">
                <a:latin typeface="+mj-lt"/>
                <a:cs typeface="Lato Regular"/>
              </a:rPr>
              <a:t>Felelőségteljes nyilvánosságra hozatal</a:t>
            </a:r>
            <a:endParaRPr lang="id-ID" sz="1512" b="1" dirty="0">
              <a:latin typeface="+mj-lt"/>
              <a:cs typeface="Lato Regular"/>
            </a:endParaRPr>
          </a:p>
        </p:txBody>
      </p:sp>
      <p:sp>
        <p:nvSpPr>
          <p:cNvPr id="15" name="TextBox 79">
            <a:extLst>
              <a:ext uri="{FF2B5EF4-FFF2-40B4-BE49-F238E27FC236}">
                <a16:creationId xmlns:a16="http://schemas.microsoft.com/office/drawing/2014/main" id="{FB45B076-CD07-48AC-BD72-4C1A3F1336EE}"/>
              </a:ext>
            </a:extLst>
          </p:cNvPr>
          <p:cNvSpPr txBox="1"/>
          <p:nvPr/>
        </p:nvSpPr>
        <p:spPr>
          <a:xfrm>
            <a:off x="1761355" y="2447271"/>
            <a:ext cx="3667804" cy="47401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 algn="just"/>
            <a:r>
              <a:rPr lang="hu-HU" sz="1200" dirty="0">
                <a:ea typeface="Open Sans Light" panose="020B0306030504020204" pitchFamily="34" charset="0"/>
                <a:cs typeface="Lato Light"/>
              </a:rPr>
              <a:t>A program kiterjedtsége és a használható módszerek meghatározása</a:t>
            </a:r>
            <a:r>
              <a:rPr lang="en-US" sz="1200" dirty="0">
                <a:ea typeface="Open Sans Light" panose="020B0306030504020204" pitchFamily="34" charset="0"/>
                <a:cs typeface="Lato Light"/>
              </a:rPr>
              <a:t>.</a:t>
            </a:r>
          </a:p>
        </p:txBody>
      </p:sp>
      <p:sp>
        <p:nvSpPr>
          <p:cNvPr id="16" name="Round Same Side Corner Rectangle 83">
            <a:extLst>
              <a:ext uri="{FF2B5EF4-FFF2-40B4-BE49-F238E27FC236}">
                <a16:creationId xmlns:a16="http://schemas.microsoft.com/office/drawing/2014/main" id="{44184DC2-A840-4B92-A012-F6007DE301C3}"/>
              </a:ext>
            </a:extLst>
          </p:cNvPr>
          <p:cNvSpPr/>
          <p:nvPr/>
        </p:nvSpPr>
        <p:spPr>
          <a:xfrm rot="10800000" flipH="1">
            <a:off x="1737929" y="2251630"/>
            <a:ext cx="51827" cy="626031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665" tIns="51833" rIns="103665" bIns="51833" rtlCol="0" anchor="ctr"/>
          <a:lstStyle/>
          <a:p>
            <a:pPr algn="ctr"/>
            <a:endParaRPr lang="bg-BG" sz="1087" dirty="0">
              <a:latin typeface="Lato Light"/>
            </a:endParaRPr>
          </a:p>
        </p:txBody>
      </p:sp>
      <p:sp>
        <p:nvSpPr>
          <p:cNvPr id="17" name="TextBox 84">
            <a:extLst>
              <a:ext uri="{FF2B5EF4-FFF2-40B4-BE49-F238E27FC236}">
                <a16:creationId xmlns:a16="http://schemas.microsoft.com/office/drawing/2014/main" id="{FD9DE06C-42B8-49D4-AD1C-F70940CA056C}"/>
              </a:ext>
            </a:extLst>
          </p:cNvPr>
          <p:cNvSpPr txBox="1"/>
          <p:nvPr/>
        </p:nvSpPr>
        <p:spPr>
          <a:xfrm>
            <a:off x="1814688" y="2224654"/>
            <a:ext cx="425824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12" b="1" dirty="0">
                <a:latin typeface="+mj-lt"/>
                <a:cs typeface="Lato Regular"/>
              </a:rPr>
              <a:t>Hatály és feltételek</a:t>
            </a:r>
            <a:endParaRPr lang="id-ID" sz="1512" b="1" dirty="0">
              <a:latin typeface="+mj-lt"/>
              <a:cs typeface="Lato Regular"/>
            </a:endParaRPr>
          </a:p>
        </p:txBody>
      </p:sp>
      <p:sp>
        <p:nvSpPr>
          <p:cNvPr id="18" name="TextBox 85">
            <a:extLst>
              <a:ext uri="{FF2B5EF4-FFF2-40B4-BE49-F238E27FC236}">
                <a16:creationId xmlns:a16="http://schemas.microsoft.com/office/drawing/2014/main" id="{6AA32E4B-E7F8-43D7-88C6-821AD739F3C7}"/>
              </a:ext>
            </a:extLst>
          </p:cNvPr>
          <p:cNvSpPr txBox="1"/>
          <p:nvPr/>
        </p:nvSpPr>
        <p:spPr>
          <a:xfrm>
            <a:off x="1761355" y="3275915"/>
            <a:ext cx="3667804" cy="47401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 algn="just"/>
            <a:r>
              <a:rPr lang="hu-HU" sz="1200" dirty="0">
                <a:ea typeface="Open Sans Light" panose="020B0306030504020204" pitchFamily="34" charset="0"/>
                <a:cs typeface="Lato Light"/>
              </a:rPr>
              <a:t>Amennyiben a feltételeket követi a bejelentő, nem érheti semmilyen retorzió a bejelentéséhez kapcsolódóan.</a:t>
            </a:r>
            <a:endParaRPr lang="en-US" sz="1200" dirty="0"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19" name="Round Same Side Corner Rectangle 86">
            <a:extLst>
              <a:ext uri="{FF2B5EF4-FFF2-40B4-BE49-F238E27FC236}">
                <a16:creationId xmlns:a16="http://schemas.microsoft.com/office/drawing/2014/main" id="{478F63F0-3E05-43CC-A080-D72764BAD6F1}"/>
              </a:ext>
            </a:extLst>
          </p:cNvPr>
          <p:cNvSpPr/>
          <p:nvPr/>
        </p:nvSpPr>
        <p:spPr>
          <a:xfrm rot="10800000" flipH="1">
            <a:off x="1737929" y="3080274"/>
            <a:ext cx="51827" cy="626031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665" tIns="51833" rIns="103665" bIns="51833" rtlCol="0" anchor="ctr"/>
          <a:lstStyle/>
          <a:p>
            <a:pPr algn="ctr"/>
            <a:endParaRPr lang="bg-BG" sz="1087" dirty="0">
              <a:latin typeface="Lato Light"/>
            </a:endParaRPr>
          </a:p>
        </p:txBody>
      </p:sp>
      <p:sp>
        <p:nvSpPr>
          <p:cNvPr id="20" name="TextBox 87">
            <a:extLst>
              <a:ext uri="{FF2B5EF4-FFF2-40B4-BE49-F238E27FC236}">
                <a16:creationId xmlns:a16="http://schemas.microsoft.com/office/drawing/2014/main" id="{B6FAED65-8942-4210-9FA6-D4CD2E71227E}"/>
              </a:ext>
            </a:extLst>
          </p:cNvPr>
          <p:cNvSpPr txBox="1"/>
          <p:nvPr/>
        </p:nvSpPr>
        <p:spPr>
          <a:xfrm>
            <a:off x="1814688" y="3053297"/>
            <a:ext cx="425824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12" b="1" dirty="0">
                <a:latin typeface="+mj-lt"/>
                <a:cs typeface="Lato Regular"/>
              </a:rPr>
              <a:t>Retorziók kizárása</a:t>
            </a:r>
            <a:endParaRPr lang="id-ID" sz="1512" b="1" dirty="0">
              <a:latin typeface="+mj-lt"/>
              <a:cs typeface="Lato Regular"/>
            </a:endParaRPr>
          </a:p>
        </p:txBody>
      </p:sp>
      <p:sp>
        <p:nvSpPr>
          <p:cNvPr id="21" name="TextBox 80">
            <a:extLst>
              <a:ext uri="{FF2B5EF4-FFF2-40B4-BE49-F238E27FC236}">
                <a16:creationId xmlns:a16="http://schemas.microsoft.com/office/drawing/2014/main" id="{7A717BFE-7048-4FD6-8420-EEBF9EC7A78D}"/>
              </a:ext>
            </a:extLst>
          </p:cNvPr>
          <p:cNvSpPr txBox="1"/>
          <p:nvPr/>
        </p:nvSpPr>
        <p:spPr>
          <a:xfrm>
            <a:off x="1763767" y="4151463"/>
            <a:ext cx="3667804" cy="47401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 algn="just"/>
            <a:r>
              <a:rPr lang="hu-HU" sz="1200" dirty="0">
                <a:ea typeface="Open Sans Light" panose="020B0306030504020204" pitchFamily="34" charset="0"/>
                <a:cs typeface="Lato Light"/>
              </a:rPr>
              <a:t>Megfelelő jutalmazási keretek kialakítása és ezek fenntartása, a dicsőségfal publikálása.</a:t>
            </a:r>
            <a:endParaRPr lang="en-US" sz="1200" dirty="0"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22" name="Round Same Side Corner Rectangle 81">
            <a:extLst>
              <a:ext uri="{FF2B5EF4-FFF2-40B4-BE49-F238E27FC236}">
                <a16:creationId xmlns:a16="http://schemas.microsoft.com/office/drawing/2014/main" id="{4B1D4508-4A14-4787-A9DA-ACAA53C54657}"/>
              </a:ext>
            </a:extLst>
          </p:cNvPr>
          <p:cNvSpPr/>
          <p:nvPr/>
        </p:nvSpPr>
        <p:spPr>
          <a:xfrm rot="10800000" flipH="1">
            <a:off x="1740341" y="3955822"/>
            <a:ext cx="51827" cy="626031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665" tIns="51833" rIns="103665" bIns="51833" rtlCol="0" anchor="ctr"/>
          <a:lstStyle/>
          <a:p>
            <a:pPr algn="ctr"/>
            <a:endParaRPr lang="bg-BG" sz="1087" dirty="0">
              <a:latin typeface="Lato Light"/>
            </a:endParaRPr>
          </a:p>
        </p:txBody>
      </p:sp>
      <p:sp>
        <p:nvSpPr>
          <p:cNvPr id="23" name="TextBox 82">
            <a:extLst>
              <a:ext uri="{FF2B5EF4-FFF2-40B4-BE49-F238E27FC236}">
                <a16:creationId xmlns:a16="http://schemas.microsoft.com/office/drawing/2014/main" id="{E4C8E8F2-34E2-4B73-AB6E-A6C3F7219635}"/>
              </a:ext>
            </a:extLst>
          </p:cNvPr>
          <p:cNvSpPr txBox="1"/>
          <p:nvPr/>
        </p:nvSpPr>
        <p:spPr>
          <a:xfrm>
            <a:off x="1817101" y="3928846"/>
            <a:ext cx="425824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12" b="1" dirty="0">
                <a:latin typeface="+mj-lt"/>
                <a:cs typeface="Lato Regular"/>
              </a:rPr>
              <a:t>Jutalmazás</a:t>
            </a:r>
            <a:endParaRPr lang="id-ID" sz="1512" b="1" dirty="0">
              <a:latin typeface="+mj-lt"/>
              <a:cs typeface="Lato Regular"/>
            </a:endParaRPr>
          </a:p>
        </p:txBody>
      </p:sp>
      <p:sp>
        <p:nvSpPr>
          <p:cNvPr id="24" name="TextBox 88">
            <a:extLst>
              <a:ext uri="{FF2B5EF4-FFF2-40B4-BE49-F238E27FC236}">
                <a16:creationId xmlns:a16="http://schemas.microsoft.com/office/drawing/2014/main" id="{07ABCA13-48F4-4383-BFEF-561DFBE1F6CE}"/>
              </a:ext>
            </a:extLst>
          </p:cNvPr>
          <p:cNvSpPr txBox="1"/>
          <p:nvPr/>
        </p:nvSpPr>
        <p:spPr>
          <a:xfrm>
            <a:off x="1762366" y="5000335"/>
            <a:ext cx="3667804" cy="47401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 algn="just"/>
            <a:r>
              <a:rPr lang="hu-HU" sz="1200" dirty="0">
                <a:ea typeface="Open Sans Light" panose="020B0306030504020204" pitchFamily="34" charset="0"/>
                <a:cs typeface="Lato Light"/>
              </a:rPr>
              <a:t>Minden megerősített sebezhetőséget, </a:t>
            </a:r>
            <a:r>
              <a:rPr lang="hu-HU" sz="1200" dirty="0" err="1">
                <a:ea typeface="Open Sans Light" panose="020B0306030504020204" pitchFamily="34" charset="0"/>
                <a:cs typeface="Lato Light"/>
              </a:rPr>
              <a:t>bugot</a:t>
            </a:r>
            <a:r>
              <a:rPr lang="hu-HU" sz="1200" dirty="0">
                <a:ea typeface="Open Sans Light" panose="020B0306030504020204" pitchFamily="34" charset="0"/>
                <a:cs typeface="Lato Light"/>
              </a:rPr>
              <a:t> a lehetőségekhez képest minél hamarabb javítani kell.</a:t>
            </a:r>
            <a:endParaRPr lang="en-US" sz="1200" dirty="0">
              <a:ea typeface="Open Sans Light" panose="020B0306030504020204" pitchFamily="34" charset="0"/>
              <a:cs typeface="Lato Light"/>
            </a:endParaRPr>
          </a:p>
        </p:txBody>
      </p:sp>
      <p:sp>
        <p:nvSpPr>
          <p:cNvPr id="25" name="Round Same Side Corner Rectangle 89">
            <a:extLst>
              <a:ext uri="{FF2B5EF4-FFF2-40B4-BE49-F238E27FC236}">
                <a16:creationId xmlns:a16="http://schemas.microsoft.com/office/drawing/2014/main" id="{220394CF-51E7-4A67-96C7-951C794E8740}"/>
              </a:ext>
            </a:extLst>
          </p:cNvPr>
          <p:cNvSpPr/>
          <p:nvPr/>
        </p:nvSpPr>
        <p:spPr>
          <a:xfrm rot="10800000" flipH="1">
            <a:off x="1738940" y="4804694"/>
            <a:ext cx="51827" cy="626031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665" tIns="51833" rIns="103665" bIns="51833" rtlCol="0" anchor="ctr"/>
          <a:lstStyle/>
          <a:p>
            <a:pPr algn="ctr"/>
            <a:endParaRPr lang="bg-BG" sz="1087" dirty="0">
              <a:latin typeface="Lato Light"/>
            </a:endParaRPr>
          </a:p>
        </p:txBody>
      </p:sp>
      <p:sp>
        <p:nvSpPr>
          <p:cNvPr id="26" name="TextBox 90">
            <a:extLst>
              <a:ext uri="{FF2B5EF4-FFF2-40B4-BE49-F238E27FC236}">
                <a16:creationId xmlns:a16="http://schemas.microsoft.com/office/drawing/2014/main" id="{10E2FAC8-49C4-4EAB-8B88-7F93636A8BA8}"/>
              </a:ext>
            </a:extLst>
          </p:cNvPr>
          <p:cNvSpPr txBox="1"/>
          <p:nvPr/>
        </p:nvSpPr>
        <p:spPr>
          <a:xfrm>
            <a:off x="1815700" y="4777718"/>
            <a:ext cx="4258240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12" b="1" dirty="0">
                <a:latin typeface="+mj-lt"/>
                <a:cs typeface="Lato Regular"/>
              </a:rPr>
              <a:t>Javítás</a:t>
            </a:r>
            <a:endParaRPr lang="id-ID" sz="1512" b="1" dirty="0">
              <a:latin typeface="+mj-lt"/>
              <a:cs typeface="Lato Regular"/>
            </a:endParaRPr>
          </a:p>
        </p:txBody>
      </p:sp>
      <p:sp>
        <p:nvSpPr>
          <p:cNvPr id="27" name="TextBox 95">
            <a:extLst>
              <a:ext uri="{FF2B5EF4-FFF2-40B4-BE49-F238E27FC236}">
                <a16:creationId xmlns:a16="http://schemas.microsoft.com/office/drawing/2014/main" id="{1436ACB2-0FAC-487E-A16F-E2E0A20730C5}"/>
              </a:ext>
            </a:extLst>
          </p:cNvPr>
          <p:cNvSpPr txBox="1"/>
          <p:nvPr/>
        </p:nvSpPr>
        <p:spPr>
          <a:xfrm>
            <a:off x="1131726" y="2094604"/>
            <a:ext cx="536780" cy="850666"/>
          </a:xfrm>
          <a:prstGeom prst="rect">
            <a:avLst/>
          </a:prstGeom>
          <a:noFill/>
        </p:spPr>
        <p:txBody>
          <a:bodyPr wrap="none" lIns="86407" tIns="43204" rIns="86407" bIns="43204" rtlCol="0">
            <a:spAutoFit/>
          </a:bodyPr>
          <a:lstStyle/>
          <a:p>
            <a:r>
              <a:rPr lang="id-ID" sz="4961" b="1" dirty="0">
                <a:latin typeface="Lato Regular"/>
                <a:cs typeface="Lato Regular"/>
              </a:rPr>
              <a:t>2</a:t>
            </a:r>
          </a:p>
        </p:txBody>
      </p:sp>
      <p:sp>
        <p:nvSpPr>
          <p:cNvPr id="28" name="TextBox 96">
            <a:extLst>
              <a:ext uri="{FF2B5EF4-FFF2-40B4-BE49-F238E27FC236}">
                <a16:creationId xmlns:a16="http://schemas.microsoft.com/office/drawing/2014/main" id="{479F7D9C-6323-4117-A029-C8D70E642F88}"/>
              </a:ext>
            </a:extLst>
          </p:cNvPr>
          <p:cNvSpPr txBox="1"/>
          <p:nvPr/>
        </p:nvSpPr>
        <p:spPr>
          <a:xfrm>
            <a:off x="1128368" y="2903370"/>
            <a:ext cx="536780" cy="850666"/>
          </a:xfrm>
          <a:prstGeom prst="rect">
            <a:avLst/>
          </a:prstGeom>
          <a:noFill/>
        </p:spPr>
        <p:txBody>
          <a:bodyPr wrap="none" lIns="86407" tIns="43204" rIns="86407" bIns="43204" rtlCol="0">
            <a:spAutoFit/>
          </a:bodyPr>
          <a:lstStyle/>
          <a:p>
            <a:r>
              <a:rPr lang="id-ID" sz="4961" b="1" dirty="0">
                <a:latin typeface="Lato Regular"/>
                <a:cs typeface="Lato Regular"/>
              </a:rPr>
              <a:t>3</a:t>
            </a:r>
          </a:p>
        </p:txBody>
      </p:sp>
      <p:sp>
        <p:nvSpPr>
          <p:cNvPr id="29" name="TextBox 97">
            <a:extLst>
              <a:ext uri="{FF2B5EF4-FFF2-40B4-BE49-F238E27FC236}">
                <a16:creationId xmlns:a16="http://schemas.microsoft.com/office/drawing/2014/main" id="{156734D5-C5A5-44CF-8369-48C04DD5B0AD}"/>
              </a:ext>
            </a:extLst>
          </p:cNvPr>
          <p:cNvSpPr txBox="1"/>
          <p:nvPr/>
        </p:nvSpPr>
        <p:spPr>
          <a:xfrm>
            <a:off x="1138895" y="3797928"/>
            <a:ext cx="536780" cy="850666"/>
          </a:xfrm>
          <a:prstGeom prst="rect">
            <a:avLst/>
          </a:prstGeom>
          <a:noFill/>
        </p:spPr>
        <p:txBody>
          <a:bodyPr wrap="none" lIns="86407" tIns="43204" rIns="86407" bIns="43204" rtlCol="0">
            <a:spAutoFit/>
          </a:bodyPr>
          <a:lstStyle/>
          <a:p>
            <a:r>
              <a:rPr lang="id-ID" sz="4961" b="1" dirty="0">
                <a:latin typeface="Lato Regular"/>
                <a:cs typeface="Lato Regular"/>
              </a:rPr>
              <a:t>4</a:t>
            </a:r>
          </a:p>
        </p:txBody>
      </p:sp>
      <p:sp>
        <p:nvSpPr>
          <p:cNvPr id="30" name="TextBox 98">
            <a:extLst>
              <a:ext uri="{FF2B5EF4-FFF2-40B4-BE49-F238E27FC236}">
                <a16:creationId xmlns:a16="http://schemas.microsoft.com/office/drawing/2014/main" id="{D1E2AC81-814A-44BC-B36F-8C0C35F02D20}"/>
              </a:ext>
            </a:extLst>
          </p:cNvPr>
          <p:cNvSpPr txBox="1"/>
          <p:nvPr/>
        </p:nvSpPr>
        <p:spPr>
          <a:xfrm>
            <a:off x="1138895" y="4636705"/>
            <a:ext cx="536780" cy="850666"/>
          </a:xfrm>
          <a:prstGeom prst="rect">
            <a:avLst/>
          </a:prstGeom>
          <a:noFill/>
        </p:spPr>
        <p:txBody>
          <a:bodyPr wrap="none" lIns="86407" tIns="43204" rIns="86407" bIns="43204" rtlCol="0">
            <a:spAutoFit/>
          </a:bodyPr>
          <a:lstStyle/>
          <a:p>
            <a:r>
              <a:rPr lang="id-ID" sz="4961" b="1" dirty="0">
                <a:latin typeface="Lato Regular"/>
                <a:cs typeface="Lato Regular"/>
              </a:rPr>
              <a:t>5</a:t>
            </a:r>
          </a:p>
        </p:txBody>
      </p:sp>
      <p:grpSp>
        <p:nvGrpSpPr>
          <p:cNvPr id="57" name="Csoportba foglalás 56">
            <a:extLst>
              <a:ext uri="{FF2B5EF4-FFF2-40B4-BE49-F238E27FC236}">
                <a16:creationId xmlns:a16="http://schemas.microsoft.com/office/drawing/2014/main" id="{85009B3F-1025-414B-B200-8955613087CF}"/>
              </a:ext>
            </a:extLst>
          </p:cNvPr>
          <p:cNvGrpSpPr/>
          <p:nvPr/>
        </p:nvGrpSpPr>
        <p:grpSpPr>
          <a:xfrm>
            <a:off x="5871070" y="1737059"/>
            <a:ext cx="4591516" cy="3212946"/>
            <a:chOff x="5871070" y="1737059"/>
            <a:chExt cx="4591516" cy="3212946"/>
          </a:xfrm>
        </p:grpSpPr>
        <p:grpSp>
          <p:nvGrpSpPr>
            <p:cNvPr id="4" name="Group 123">
              <a:extLst>
                <a:ext uri="{FF2B5EF4-FFF2-40B4-BE49-F238E27FC236}">
                  <a16:creationId xmlns:a16="http://schemas.microsoft.com/office/drawing/2014/main" id="{AEF4C0AE-213D-4E01-A0EB-1D6B6AB999B7}"/>
                </a:ext>
              </a:extLst>
            </p:cNvPr>
            <p:cNvGrpSpPr/>
            <p:nvPr/>
          </p:nvGrpSpPr>
          <p:grpSpPr>
            <a:xfrm>
              <a:off x="6736179" y="3359665"/>
              <a:ext cx="3282240" cy="1530907"/>
              <a:chOff x="13102660" y="7741953"/>
              <a:chExt cx="6947220" cy="3240333"/>
            </a:xfrm>
          </p:grpSpPr>
          <p:sp>
            <p:nvSpPr>
              <p:cNvPr id="5" name="Freeform 1">
                <a:extLst>
                  <a:ext uri="{FF2B5EF4-FFF2-40B4-BE49-F238E27FC236}">
                    <a16:creationId xmlns:a16="http://schemas.microsoft.com/office/drawing/2014/main" id="{3CC3B097-C02F-4BB3-93AB-273118ED66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3102660" y="7748014"/>
                <a:ext cx="6866520" cy="3212492"/>
              </a:xfrm>
              <a:custGeom>
                <a:avLst/>
                <a:gdLst>
                  <a:gd name="T0" fmla="*/ 610 w 14140"/>
                  <a:gd name="T1" fmla="*/ 4685 h 6615"/>
                  <a:gd name="T2" fmla="*/ 610 w 14140"/>
                  <a:gd name="T3" fmla="*/ 4685 h 6615"/>
                  <a:gd name="T4" fmla="*/ 505 w 14140"/>
                  <a:gd name="T5" fmla="*/ 5029 h 6615"/>
                  <a:gd name="T6" fmla="*/ 1120 w 14140"/>
                  <a:gd name="T7" fmla="*/ 5639 h 6615"/>
                  <a:gd name="T8" fmla="*/ 1714 w 14140"/>
                  <a:gd name="T9" fmla="*/ 5184 h 6615"/>
                  <a:gd name="T10" fmla="*/ 2335 w 14140"/>
                  <a:gd name="T11" fmla="*/ 4507 h 6615"/>
                  <a:gd name="T12" fmla="*/ 2335 w 14140"/>
                  <a:gd name="T13" fmla="*/ 4485 h 6615"/>
                  <a:gd name="T14" fmla="*/ 3050 w 14140"/>
                  <a:gd name="T15" fmla="*/ 3753 h 6615"/>
                  <a:gd name="T16" fmla="*/ 4608 w 14140"/>
                  <a:gd name="T17" fmla="*/ 3903 h 6615"/>
                  <a:gd name="T18" fmla="*/ 6821 w 14140"/>
                  <a:gd name="T19" fmla="*/ 3554 h 6615"/>
                  <a:gd name="T20" fmla="*/ 7673 w 14140"/>
                  <a:gd name="T21" fmla="*/ 3903 h 6615"/>
                  <a:gd name="T22" fmla="*/ 8394 w 14140"/>
                  <a:gd name="T23" fmla="*/ 3665 h 6615"/>
                  <a:gd name="T24" fmla="*/ 9409 w 14140"/>
                  <a:gd name="T25" fmla="*/ 3936 h 6615"/>
                  <a:gd name="T26" fmla="*/ 10296 w 14140"/>
                  <a:gd name="T27" fmla="*/ 3731 h 6615"/>
                  <a:gd name="T28" fmla="*/ 11333 w 14140"/>
                  <a:gd name="T29" fmla="*/ 4252 h 6615"/>
                  <a:gd name="T30" fmla="*/ 11533 w 14140"/>
                  <a:gd name="T31" fmla="*/ 4768 h 6615"/>
                  <a:gd name="T32" fmla="*/ 11056 w 14140"/>
                  <a:gd name="T33" fmla="*/ 5616 h 6615"/>
                  <a:gd name="T34" fmla="*/ 12065 w 14140"/>
                  <a:gd name="T35" fmla="*/ 6614 h 6615"/>
                  <a:gd name="T36" fmla="*/ 13041 w 14140"/>
                  <a:gd name="T37" fmla="*/ 5877 h 6615"/>
                  <a:gd name="T38" fmla="*/ 13335 w 14140"/>
                  <a:gd name="T39" fmla="*/ 5932 h 6615"/>
                  <a:gd name="T40" fmla="*/ 14139 w 14140"/>
                  <a:gd name="T41" fmla="*/ 5139 h 6615"/>
                  <a:gd name="T42" fmla="*/ 13734 w 14140"/>
                  <a:gd name="T43" fmla="*/ 4457 h 6615"/>
                  <a:gd name="T44" fmla="*/ 13795 w 14140"/>
                  <a:gd name="T45" fmla="*/ 4086 h 6615"/>
                  <a:gd name="T46" fmla="*/ 13091 w 14140"/>
                  <a:gd name="T47" fmla="*/ 2977 h 6615"/>
                  <a:gd name="T48" fmla="*/ 13124 w 14140"/>
                  <a:gd name="T49" fmla="*/ 2655 h 6615"/>
                  <a:gd name="T50" fmla="*/ 11499 w 14140"/>
                  <a:gd name="T51" fmla="*/ 1047 h 6615"/>
                  <a:gd name="T52" fmla="*/ 11183 w 14140"/>
                  <a:gd name="T53" fmla="*/ 1081 h 6615"/>
                  <a:gd name="T54" fmla="*/ 9409 w 14140"/>
                  <a:gd name="T55" fmla="*/ 0 h 6615"/>
                  <a:gd name="T56" fmla="*/ 7475 w 14140"/>
                  <a:gd name="T57" fmla="*/ 1513 h 6615"/>
                  <a:gd name="T58" fmla="*/ 6471 w 14140"/>
                  <a:gd name="T59" fmla="*/ 2539 h 6615"/>
                  <a:gd name="T60" fmla="*/ 4608 w 14140"/>
                  <a:gd name="T61" fmla="*/ 2317 h 6615"/>
                  <a:gd name="T62" fmla="*/ 4536 w 14140"/>
                  <a:gd name="T63" fmla="*/ 2317 h 6615"/>
                  <a:gd name="T64" fmla="*/ 4192 w 14140"/>
                  <a:gd name="T65" fmla="*/ 1996 h 6615"/>
                  <a:gd name="T66" fmla="*/ 3543 w 14140"/>
                  <a:gd name="T67" fmla="*/ 1369 h 6615"/>
                  <a:gd name="T68" fmla="*/ 3399 w 14140"/>
                  <a:gd name="T69" fmla="*/ 1386 h 6615"/>
                  <a:gd name="T70" fmla="*/ 3089 w 14140"/>
                  <a:gd name="T71" fmla="*/ 1314 h 6615"/>
                  <a:gd name="T72" fmla="*/ 2806 w 14140"/>
                  <a:gd name="T73" fmla="*/ 1375 h 6615"/>
                  <a:gd name="T74" fmla="*/ 2806 w 14140"/>
                  <a:gd name="T75" fmla="*/ 1369 h 6615"/>
                  <a:gd name="T76" fmla="*/ 2279 w 14140"/>
                  <a:gd name="T77" fmla="*/ 848 h 6615"/>
                  <a:gd name="T78" fmla="*/ 1780 w 14140"/>
                  <a:gd name="T79" fmla="*/ 1203 h 6615"/>
                  <a:gd name="T80" fmla="*/ 1719 w 14140"/>
                  <a:gd name="T81" fmla="*/ 1203 h 6615"/>
                  <a:gd name="T82" fmla="*/ 1154 w 14140"/>
                  <a:gd name="T83" fmla="*/ 1757 h 6615"/>
                  <a:gd name="T84" fmla="*/ 1597 w 14140"/>
                  <a:gd name="T85" fmla="*/ 2301 h 6615"/>
                  <a:gd name="T86" fmla="*/ 1736 w 14140"/>
                  <a:gd name="T87" fmla="*/ 2556 h 6615"/>
                  <a:gd name="T88" fmla="*/ 1037 w 14140"/>
                  <a:gd name="T89" fmla="*/ 3515 h 6615"/>
                  <a:gd name="T90" fmla="*/ 1037 w 14140"/>
                  <a:gd name="T91" fmla="*/ 3520 h 6615"/>
                  <a:gd name="T92" fmla="*/ 655 w 14140"/>
                  <a:gd name="T93" fmla="*/ 3393 h 6615"/>
                  <a:gd name="T94" fmla="*/ 0 w 14140"/>
                  <a:gd name="T95" fmla="*/ 4042 h 6615"/>
                  <a:gd name="T96" fmla="*/ 610 w 14140"/>
                  <a:gd name="T97" fmla="*/ 4685 h 6615"/>
                  <a:gd name="T98" fmla="*/ 2723 w 14140"/>
                  <a:gd name="T99" fmla="*/ 2545 h 6615"/>
                  <a:gd name="T100" fmla="*/ 2723 w 14140"/>
                  <a:gd name="T101" fmla="*/ 2545 h 6615"/>
                  <a:gd name="T102" fmla="*/ 2573 w 14140"/>
                  <a:gd name="T103" fmla="*/ 2594 h 6615"/>
                  <a:gd name="T104" fmla="*/ 2656 w 14140"/>
                  <a:gd name="T105" fmla="*/ 2500 h 6615"/>
                  <a:gd name="T106" fmla="*/ 2723 w 14140"/>
                  <a:gd name="T107" fmla="*/ 2545 h 6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140" h="6615">
                    <a:moveTo>
                      <a:pt x="610" y="4685"/>
                    </a:moveTo>
                    <a:lnTo>
                      <a:pt x="610" y="4685"/>
                    </a:lnTo>
                    <a:cubicBezTo>
                      <a:pt x="544" y="4785"/>
                      <a:pt x="505" y="4901"/>
                      <a:pt x="505" y="5029"/>
                    </a:cubicBezTo>
                    <a:cubicBezTo>
                      <a:pt x="505" y="5367"/>
                      <a:pt x="777" y="5639"/>
                      <a:pt x="1120" y="5639"/>
                    </a:cubicBezTo>
                    <a:cubicBezTo>
                      <a:pt x="1409" y="5639"/>
                      <a:pt x="1647" y="5444"/>
                      <a:pt x="1714" y="5184"/>
                    </a:cubicBezTo>
                    <a:cubicBezTo>
                      <a:pt x="2063" y="5145"/>
                      <a:pt x="2335" y="4857"/>
                      <a:pt x="2335" y="4507"/>
                    </a:cubicBezTo>
                    <a:cubicBezTo>
                      <a:pt x="2335" y="4496"/>
                      <a:pt x="2335" y="4491"/>
                      <a:pt x="2335" y="4485"/>
                    </a:cubicBezTo>
                    <a:cubicBezTo>
                      <a:pt x="2684" y="4391"/>
                      <a:pt x="2961" y="4108"/>
                      <a:pt x="3050" y="3753"/>
                    </a:cubicBezTo>
                    <a:cubicBezTo>
                      <a:pt x="3488" y="3848"/>
                      <a:pt x="4026" y="3903"/>
                      <a:pt x="4608" y="3903"/>
                    </a:cubicBezTo>
                    <a:cubicBezTo>
                      <a:pt x="5529" y="3903"/>
                      <a:pt x="6338" y="3764"/>
                      <a:pt x="6821" y="3554"/>
                    </a:cubicBezTo>
                    <a:cubicBezTo>
                      <a:pt x="7042" y="3770"/>
                      <a:pt x="7342" y="3903"/>
                      <a:pt x="7673" y="3903"/>
                    </a:cubicBezTo>
                    <a:cubicBezTo>
                      <a:pt x="7945" y="3903"/>
                      <a:pt x="8195" y="3814"/>
                      <a:pt x="8394" y="3665"/>
                    </a:cubicBezTo>
                    <a:cubicBezTo>
                      <a:pt x="8694" y="3836"/>
                      <a:pt x="9037" y="3936"/>
                      <a:pt x="9409" y="3936"/>
                    </a:cubicBezTo>
                    <a:cubicBezTo>
                      <a:pt x="9731" y="3936"/>
                      <a:pt x="10030" y="3864"/>
                      <a:pt x="10296" y="3731"/>
                    </a:cubicBezTo>
                    <a:cubicBezTo>
                      <a:pt x="10562" y="4014"/>
                      <a:pt x="10923" y="4208"/>
                      <a:pt x="11333" y="4252"/>
                    </a:cubicBezTo>
                    <a:cubicBezTo>
                      <a:pt x="11355" y="4441"/>
                      <a:pt x="11427" y="4618"/>
                      <a:pt x="11533" y="4768"/>
                    </a:cubicBezTo>
                    <a:cubicBezTo>
                      <a:pt x="11244" y="4945"/>
                      <a:pt x="11056" y="5262"/>
                      <a:pt x="11056" y="5616"/>
                    </a:cubicBezTo>
                    <a:cubicBezTo>
                      <a:pt x="11056" y="6171"/>
                      <a:pt x="11510" y="6614"/>
                      <a:pt x="12065" y="6614"/>
                    </a:cubicBezTo>
                    <a:cubicBezTo>
                      <a:pt x="12536" y="6614"/>
                      <a:pt x="12924" y="6304"/>
                      <a:pt x="13041" y="5877"/>
                    </a:cubicBezTo>
                    <a:cubicBezTo>
                      <a:pt x="13135" y="5910"/>
                      <a:pt x="13235" y="5932"/>
                      <a:pt x="13335" y="5932"/>
                    </a:cubicBezTo>
                    <a:cubicBezTo>
                      <a:pt x="13778" y="5932"/>
                      <a:pt x="14139" y="5578"/>
                      <a:pt x="14139" y="5139"/>
                    </a:cubicBezTo>
                    <a:cubicBezTo>
                      <a:pt x="14139" y="4851"/>
                      <a:pt x="13978" y="4596"/>
                      <a:pt x="13734" y="4457"/>
                    </a:cubicBezTo>
                    <a:cubicBezTo>
                      <a:pt x="13773" y="4341"/>
                      <a:pt x="13795" y="4213"/>
                      <a:pt x="13795" y="4086"/>
                    </a:cubicBezTo>
                    <a:cubicBezTo>
                      <a:pt x="13795" y="3598"/>
                      <a:pt x="13506" y="3177"/>
                      <a:pt x="13091" y="2977"/>
                    </a:cubicBezTo>
                    <a:cubicBezTo>
                      <a:pt x="13113" y="2872"/>
                      <a:pt x="13124" y="2766"/>
                      <a:pt x="13124" y="2655"/>
                    </a:cubicBezTo>
                    <a:cubicBezTo>
                      <a:pt x="13124" y="1768"/>
                      <a:pt x="12398" y="1047"/>
                      <a:pt x="11499" y="1047"/>
                    </a:cubicBezTo>
                    <a:cubicBezTo>
                      <a:pt x="11394" y="1047"/>
                      <a:pt x="11283" y="1059"/>
                      <a:pt x="11183" y="1081"/>
                    </a:cubicBezTo>
                    <a:cubicBezTo>
                      <a:pt x="10856" y="439"/>
                      <a:pt x="10185" y="0"/>
                      <a:pt x="9409" y="0"/>
                    </a:cubicBezTo>
                    <a:cubicBezTo>
                      <a:pt x="8466" y="0"/>
                      <a:pt x="7679" y="648"/>
                      <a:pt x="7475" y="1513"/>
                    </a:cubicBezTo>
                    <a:cubicBezTo>
                      <a:pt x="6954" y="1602"/>
                      <a:pt x="6543" y="2018"/>
                      <a:pt x="6471" y="2539"/>
                    </a:cubicBezTo>
                    <a:cubicBezTo>
                      <a:pt x="5989" y="2400"/>
                      <a:pt x="5334" y="2317"/>
                      <a:pt x="4608" y="2317"/>
                    </a:cubicBezTo>
                    <a:cubicBezTo>
                      <a:pt x="4586" y="2317"/>
                      <a:pt x="4564" y="2317"/>
                      <a:pt x="4536" y="2317"/>
                    </a:cubicBezTo>
                    <a:cubicBezTo>
                      <a:pt x="4486" y="2162"/>
                      <a:pt x="4353" y="2040"/>
                      <a:pt x="4192" y="1996"/>
                    </a:cubicBezTo>
                    <a:cubicBezTo>
                      <a:pt x="4181" y="1652"/>
                      <a:pt x="3898" y="1369"/>
                      <a:pt x="3543" y="1369"/>
                    </a:cubicBezTo>
                    <a:cubicBezTo>
                      <a:pt x="3494" y="1369"/>
                      <a:pt x="3444" y="1375"/>
                      <a:pt x="3399" y="1386"/>
                    </a:cubicBezTo>
                    <a:cubicBezTo>
                      <a:pt x="3305" y="1341"/>
                      <a:pt x="3200" y="1314"/>
                      <a:pt x="3089" y="1314"/>
                    </a:cubicBezTo>
                    <a:cubicBezTo>
                      <a:pt x="2989" y="1314"/>
                      <a:pt x="2895" y="1336"/>
                      <a:pt x="2806" y="1375"/>
                    </a:cubicBezTo>
                    <a:lnTo>
                      <a:pt x="2806" y="1369"/>
                    </a:lnTo>
                    <a:cubicBezTo>
                      <a:pt x="2806" y="1081"/>
                      <a:pt x="2573" y="848"/>
                      <a:pt x="2279" y="848"/>
                    </a:cubicBezTo>
                    <a:cubicBezTo>
                      <a:pt x="2046" y="848"/>
                      <a:pt x="1852" y="998"/>
                      <a:pt x="1780" y="1203"/>
                    </a:cubicBezTo>
                    <a:cubicBezTo>
                      <a:pt x="1758" y="1203"/>
                      <a:pt x="1741" y="1203"/>
                      <a:pt x="1719" y="1203"/>
                    </a:cubicBezTo>
                    <a:cubicBezTo>
                      <a:pt x="1409" y="1203"/>
                      <a:pt x="1154" y="1452"/>
                      <a:pt x="1154" y="1757"/>
                    </a:cubicBezTo>
                    <a:cubicBezTo>
                      <a:pt x="1154" y="2023"/>
                      <a:pt x="1348" y="2251"/>
                      <a:pt x="1597" y="2301"/>
                    </a:cubicBezTo>
                    <a:cubicBezTo>
                      <a:pt x="1625" y="2400"/>
                      <a:pt x="1669" y="2484"/>
                      <a:pt x="1736" y="2556"/>
                    </a:cubicBezTo>
                    <a:cubicBezTo>
                      <a:pt x="1331" y="2689"/>
                      <a:pt x="1037" y="3066"/>
                      <a:pt x="1037" y="3515"/>
                    </a:cubicBezTo>
                    <a:cubicBezTo>
                      <a:pt x="1037" y="3515"/>
                      <a:pt x="1037" y="3515"/>
                      <a:pt x="1037" y="3520"/>
                    </a:cubicBezTo>
                    <a:cubicBezTo>
                      <a:pt x="932" y="3443"/>
                      <a:pt x="799" y="3393"/>
                      <a:pt x="655" y="3393"/>
                    </a:cubicBezTo>
                    <a:cubicBezTo>
                      <a:pt x="294" y="3393"/>
                      <a:pt x="0" y="3681"/>
                      <a:pt x="0" y="4042"/>
                    </a:cubicBezTo>
                    <a:cubicBezTo>
                      <a:pt x="0" y="4385"/>
                      <a:pt x="266" y="4663"/>
                      <a:pt x="610" y="4685"/>
                    </a:cubicBezTo>
                    <a:close/>
                    <a:moveTo>
                      <a:pt x="2723" y="2545"/>
                    </a:moveTo>
                    <a:lnTo>
                      <a:pt x="2723" y="2545"/>
                    </a:lnTo>
                    <a:cubicBezTo>
                      <a:pt x="2667" y="2561"/>
                      <a:pt x="2623" y="2578"/>
                      <a:pt x="2573" y="2594"/>
                    </a:cubicBezTo>
                    <a:cubicBezTo>
                      <a:pt x="2606" y="2567"/>
                      <a:pt x="2634" y="2534"/>
                      <a:pt x="2656" y="2500"/>
                    </a:cubicBezTo>
                    <a:cubicBezTo>
                      <a:pt x="2678" y="2517"/>
                      <a:pt x="2701" y="2534"/>
                      <a:pt x="2723" y="254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/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6" name="Freeform 2">
                <a:extLst>
                  <a:ext uri="{FF2B5EF4-FFF2-40B4-BE49-F238E27FC236}">
                    <a16:creationId xmlns:a16="http://schemas.microsoft.com/office/drawing/2014/main" id="{F2FD48E4-FF9B-44BE-BA63-0CB840CC56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3112704" y="7741953"/>
                <a:ext cx="6937176" cy="3240333"/>
              </a:xfrm>
              <a:custGeom>
                <a:avLst/>
                <a:gdLst>
                  <a:gd name="T0" fmla="*/ 14288 w 14289"/>
                  <a:gd name="T1" fmla="*/ 4069 h 6671"/>
                  <a:gd name="T2" fmla="*/ 14288 w 14289"/>
                  <a:gd name="T3" fmla="*/ 4069 h 6671"/>
                  <a:gd name="T4" fmla="*/ 13628 w 14289"/>
                  <a:gd name="T5" fmla="*/ 3421 h 6671"/>
                  <a:gd name="T6" fmla="*/ 13240 w 14289"/>
                  <a:gd name="T7" fmla="*/ 3548 h 6671"/>
                  <a:gd name="T8" fmla="*/ 13240 w 14289"/>
                  <a:gd name="T9" fmla="*/ 3537 h 6671"/>
                  <a:gd name="T10" fmla="*/ 12536 w 14289"/>
                  <a:gd name="T11" fmla="*/ 2572 h 6671"/>
                  <a:gd name="T12" fmla="*/ 12675 w 14289"/>
                  <a:gd name="T13" fmla="*/ 2323 h 6671"/>
                  <a:gd name="T14" fmla="*/ 13124 w 14289"/>
                  <a:gd name="T15" fmla="*/ 1774 h 6671"/>
                  <a:gd name="T16" fmla="*/ 12552 w 14289"/>
                  <a:gd name="T17" fmla="*/ 1208 h 6671"/>
                  <a:gd name="T18" fmla="*/ 12491 w 14289"/>
                  <a:gd name="T19" fmla="*/ 1214 h 6671"/>
                  <a:gd name="T20" fmla="*/ 11987 w 14289"/>
                  <a:gd name="T21" fmla="*/ 853 h 6671"/>
                  <a:gd name="T22" fmla="*/ 11449 w 14289"/>
                  <a:gd name="T23" fmla="*/ 1380 h 6671"/>
                  <a:gd name="T24" fmla="*/ 11449 w 14289"/>
                  <a:gd name="T25" fmla="*/ 1386 h 6671"/>
                  <a:gd name="T26" fmla="*/ 11166 w 14289"/>
                  <a:gd name="T27" fmla="*/ 1325 h 6671"/>
                  <a:gd name="T28" fmla="*/ 10856 w 14289"/>
                  <a:gd name="T29" fmla="*/ 1397 h 6671"/>
                  <a:gd name="T30" fmla="*/ 10706 w 14289"/>
                  <a:gd name="T31" fmla="*/ 1380 h 6671"/>
                  <a:gd name="T32" fmla="*/ 10052 w 14289"/>
                  <a:gd name="T33" fmla="*/ 2012 h 6671"/>
                  <a:gd name="T34" fmla="*/ 9703 w 14289"/>
                  <a:gd name="T35" fmla="*/ 2334 h 6671"/>
                  <a:gd name="T36" fmla="*/ 9630 w 14289"/>
                  <a:gd name="T37" fmla="*/ 2334 h 6671"/>
                  <a:gd name="T38" fmla="*/ 7751 w 14289"/>
                  <a:gd name="T39" fmla="*/ 2556 h 6671"/>
                  <a:gd name="T40" fmla="*/ 6737 w 14289"/>
                  <a:gd name="T41" fmla="*/ 1524 h 6671"/>
                  <a:gd name="T42" fmla="*/ 4780 w 14289"/>
                  <a:gd name="T43" fmla="*/ 0 h 6671"/>
                  <a:gd name="T44" fmla="*/ 2989 w 14289"/>
                  <a:gd name="T45" fmla="*/ 1086 h 6671"/>
                  <a:gd name="T46" fmla="*/ 2667 w 14289"/>
                  <a:gd name="T47" fmla="*/ 1059 h 6671"/>
                  <a:gd name="T48" fmla="*/ 1026 w 14289"/>
                  <a:gd name="T49" fmla="*/ 2672 h 6671"/>
                  <a:gd name="T50" fmla="*/ 1059 w 14289"/>
                  <a:gd name="T51" fmla="*/ 3005 h 6671"/>
                  <a:gd name="T52" fmla="*/ 349 w 14289"/>
                  <a:gd name="T53" fmla="*/ 4119 h 6671"/>
                  <a:gd name="T54" fmla="*/ 405 w 14289"/>
                  <a:gd name="T55" fmla="*/ 4491 h 6671"/>
                  <a:gd name="T56" fmla="*/ 0 w 14289"/>
                  <a:gd name="T57" fmla="*/ 5184 h 6671"/>
                  <a:gd name="T58" fmla="*/ 810 w 14289"/>
                  <a:gd name="T59" fmla="*/ 5977 h 6671"/>
                  <a:gd name="T60" fmla="*/ 1109 w 14289"/>
                  <a:gd name="T61" fmla="*/ 5921 h 6671"/>
                  <a:gd name="T62" fmla="*/ 2096 w 14289"/>
                  <a:gd name="T63" fmla="*/ 6670 h 6671"/>
                  <a:gd name="T64" fmla="*/ 3116 w 14289"/>
                  <a:gd name="T65" fmla="*/ 5661 h 6671"/>
                  <a:gd name="T66" fmla="*/ 2634 w 14289"/>
                  <a:gd name="T67" fmla="*/ 4807 h 6671"/>
                  <a:gd name="T68" fmla="*/ 2839 w 14289"/>
                  <a:gd name="T69" fmla="*/ 4286 h 6671"/>
                  <a:gd name="T70" fmla="*/ 3881 w 14289"/>
                  <a:gd name="T71" fmla="*/ 3759 h 6671"/>
                  <a:gd name="T72" fmla="*/ 4780 w 14289"/>
                  <a:gd name="T73" fmla="*/ 3970 h 6671"/>
                  <a:gd name="T74" fmla="*/ 5805 w 14289"/>
                  <a:gd name="T75" fmla="*/ 3692 h 6671"/>
                  <a:gd name="T76" fmla="*/ 6532 w 14289"/>
                  <a:gd name="T77" fmla="*/ 3931 h 6671"/>
                  <a:gd name="T78" fmla="*/ 7397 w 14289"/>
                  <a:gd name="T79" fmla="*/ 3581 h 6671"/>
                  <a:gd name="T80" fmla="*/ 9630 w 14289"/>
                  <a:gd name="T81" fmla="*/ 3931 h 6671"/>
                  <a:gd name="T82" fmla="*/ 11205 w 14289"/>
                  <a:gd name="T83" fmla="*/ 3781 h 6671"/>
                  <a:gd name="T84" fmla="*/ 11931 w 14289"/>
                  <a:gd name="T85" fmla="*/ 4518 h 6671"/>
                  <a:gd name="T86" fmla="*/ 11931 w 14289"/>
                  <a:gd name="T87" fmla="*/ 4541 h 6671"/>
                  <a:gd name="T88" fmla="*/ 12558 w 14289"/>
                  <a:gd name="T89" fmla="*/ 5223 h 6671"/>
                  <a:gd name="T90" fmla="*/ 13157 w 14289"/>
                  <a:gd name="T91" fmla="*/ 5683 h 6671"/>
                  <a:gd name="T92" fmla="*/ 13783 w 14289"/>
                  <a:gd name="T93" fmla="*/ 5067 h 6671"/>
                  <a:gd name="T94" fmla="*/ 13673 w 14289"/>
                  <a:gd name="T95" fmla="*/ 4724 h 6671"/>
                  <a:gd name="T96" fmla="*/ 14288 w 14289"/>
                  <a:gd name="T97" fmla="*/ 4069 h 6671"/>
                  <a:gd name="T98" fmla="*/ 11604 w 14289"/>
                  <a:gd name="T99" fmla="*/ 2517 h 6671"/>
                  <a:gd name="T100" fmla="*/ 11604 w 14289"/>
                  <a:gd name="T101" fmla="*/ 2517 h 6671"/>
                  <a:gd name="T102" fmla="*/ 11687 w 14289"/>
                  <a:gd name="T103" fmla="*/ 2611 h 6671"/>
                  <a:gd name="T104" fmla="*/ 11538 w 14289"/>
                  <a:gd name="T105" fmla="*/ 2567 h 6671"/>
                  <a:gd name="T106" fmla="*/ 11604 w 14289"/>
                  <a:gd name="T107" fmla="*/ 2517 h 6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289" h="6671">
                    <a:moveTo>
                      <a:pt x="14288" y="4069"/>
                    </a:moveTo>
                    <a:lnTo>
                      <a:pt x="14288" y="4069"/>
                    </a:lnTo>
                    <a:cubicBezTo>
                      <a:pt x="14288" y="3715"/>
                      <a:pt x="13994" y="3421"/>
                      <a:pt x="13628" y="3421"/>
                    </a:cubicBezTo>
                    <a:cubicBezTo>
                      <a:pt x="13484" y="3421"/>
                      <a:pt x="13351" y="3465"/>
                      <a:pt x="13240" y="3548"/>
                    </a:cubicBezTo>
                    <a:cubicBezTo>
                      <a:pt x="13240" y="3543"/>
                      <a:pt x="13240" y="3543"/>
                      <a:pt x="13240" y="3537"/>
                    </a:cubicBezTo>
                    <a:cubicBezTo>
                      <a:pt x="13240" y="3088"/>
                      <a:pt x="12946" y="2711"/>
                      <a:pt x="12536" y="2572"/>
                    </a:cubicBezTo>
                    <a:cubicBezTo>
                      <a:pt x="12602" y="2506"/>
                      <a:pt x="12647" y="2417"/>
                      <a:pt x="12675" y="2323"/>
                    </a:cubicBezTo>
                    <a:cubicBezTo>
                      <a:pt x="12930" y="2267"/>
                      <a:pt x="13124" y="2040"/>
                      <a:pt x="13124" y="1774"/>
                    </a:cubicBezTo>
                    <a:cubicBezTo>
                      <a:pt x="13124" y="1463"/>
                      <a:pt x="12868" y="1208"/>
                      <a:pt x="12552" y="1208"/>
                    </a:cubicBezTo>
                    <a:cubicBezTo>
                      <a:pt x="12530" y="1208"/>
                      <a:pt x="12508" y="1214"/>
                      <a:pt x="12491" y="1214"/>
                    </a:cubicBezTo>
                    <a:cubicBezTo>
                      <a:pt x="12419" y="1003"/>
                      <a:pt x="12220" y="853"/>
                      <a:pt x="11987" y="853"/>
                    </a:cubicBezTo>
                    <a:cubicBezTo>
                      <a:pt x="11687" y="853"/>
                      <a:pt x="11449" y="1092"/>
                      <a:pt x="11449" y="1380"/>
                    </a:cubicBezTo>
                    <a:cubicBezTo>
                      <a:pt x="11449" y="1380"/>
                      <a:pt x="11449" y="1380"/>
                      <a:pt x="11449" y="1386"/>
                    </a:cubicBezTo>
                    <a:cubicBezTo>
                      <a:pt x="11366" y="1347"/>
                      <a:pt x="11272" y="1325"/>
                      <a:pt x="11166" y="1325"/>
                    </a:cubicBezTo>
                    <a:cubicBezTo>
                      <a:pt x="11055" y="1325"/>
                      <a:pt x="10950" y="1352"/>
                      <a:pt x="10856" y="1397"/>
                    </a:cubicBezTo>
                    <a:cubicBezTo>
                      <a:pt x="10806" y="1386"/>
                      <a:pt x="10761" y="1380"/>
                      <a:pt x="10706" y="1380"/>
                    </a:cubicBezTo>
                    <a:cubicBezTo>
                      <a:pt x="10351" y="1380"/>
                      <a:pt x="10063" y="1663"/>
                      <a:pt x="10052" y="2012"/>
                    </a:cubicBezTo>
                    <a:cubicBezTo>
                      <a:pt x="9891" y="2057"/>
                      <a:pt x="9758" y="2179"/>
                      <a:pt x="9703" y="2334"/>
                    </a:cubicBezTo>
                    <a:cubicBezTo>
                      <a:pt x="9680" y="2334"/>
                      <a:pt x="9652" y="2334"/>
                      <a:pt x="9630" y="2334"/>
                    </a:cubicBezTo>
                    <a:cubicBezTo>
                      <a:pt x="8898" y="2334"/>
                      <a:pt x="8239" y="2417"/>
                      <a:pt x="7751" y="2556"/>
                    </a:cubicBezTo>
                    <a:cubicBezTo>
                      <a:pt x="7679" y="2034"/>
                      <a:pt x="7264" y="1613"/>
                      <a:pt x="6737" y="1524"/>
                    </a:cubicBezTo>
                    <a:cubicBezTo>
                      <a:pt x="6526" y="654"/>
                      <a:pt x="5733" y="0"/>
                      <a:pt x="4780" y="0"/>
                    </a:cubicBezTo>
                    <a:cubicBezTo>
                      <a:pt x="3998" y="0"/>
                      <a:pt x="3321" y="444"/>
                      <a:pt x="2989" y="1086"/>
                    </a:cubicBezTo>
                    <a:cubicBezTo>
                      <a:pt x="2883" y="1070"/>
                      <a:pt x="2778" y="1059"/>
                      <a:pt x="2667" y="1059"/>
                    </a:cubicBezTo>
                    <a:cubicBezTo>
                      <a:pt x="1763" y="1059"/>
                      <a:pt x="1026" y="1779"/>
                      <a:pt x="1026" y="2672"/>
                    </a:cubicBezTo>
                    <a:cubicBezTo>
                      <a:pt x="1026" y="2789"/>
                      <a:pt x="1037" y="2894"/>
                      <a:pt x="1059" y="3005"/>
                    </a:cubicBezTo>
                    <a:cubicBezTo>
                      <a:pt x="638" y="3199"/>
                      <a:pt x="349" y="3626"/>
                      <a:pt x="349" y="4119"/>
                    </a:cubicBezTo>
                    <a:cubicBezTo>
                      <a:pt x="349" y="4247"/>
                      <a:pt x="366" y="4374"/>
                      <a:pt x="405" y="4491"/>
                    </a:cubicBezTo>
                    <a:cubicBezTo>
                      <a:pt x="166" y="4629"/>
                      <a:pt x="0" y="4885"/>
                      <a:pt x="0" y="5184"/>
                    </a:cubicBezTo>
                    <a:cubicBezTo>
                      <a:pt x="0" y="5622"/>
                      <a:pt x="366" y="5977"/>
                      <a:pt x="810" y="5977"/>
                    </a:cubicBezTo>
                    <a:cubicBezTo>
                      <a:pt x="915" y="5977"/>
                      <a:pt x="1015" y="5960"/>
                      <a:pt x="1109" y="5921"/>
                    </a:cubicBezTo>
                    <a:cubicBezTo>
                      <a:pt x="1225" y="6354"/>
                      <a:pt x="1625" y="6670"/>
                      <a:pt x="2096" y="6670"/>
                    </a:cubicBezTo>
                    <a:cubicBezTo>
                      <a:pt x="2656" y="6670"/>
                      <a:pt x="3116" y="6215"/>
                      <a:pt x="3116" y="5661"/>
                    </a:cubicBezTo>
                    <a:cubicBezTo>
                      <a:pt x="3116" y="5300"/>
                      <a:pt x="2922" y="4984"/>
                      <a:pt x="2634" y="4807"/>
                    </a:cubicBezTo>
                    <a:cubicBezTo>
                      <a:pt x="2739" y="4652"/>
                      <a:pt x="2811" y="4474"/>
                      <a:pt x="2839" y="4286"/>
                    </a:cubicBezTo>
                    <a:cubicBezTo>
                      <a:pt x="3249" y="4241"/>
                      <a:pt x="3615" y="4047"/>
                      <a:pt x="3881" y="3759"/>
                    </a:cubicBezTo>
                    <a:cubicBezTo>
                      <a:pt x="4153" y="3892"/>
                      <a:pt x="4458" y="3970"/>
                      <a:pt x="4780" y="3970"/>
                    </a:cubicBezTo>
                    <a:cubicBezTo>
                      <a:pt x="5157" y="3970"/>
                      <a:pt x="5506" y="3870"/>
                      <a:pt x="5805" y="3692"/>
                    </a:cubicBezTo>
                    <a:cubicBezTo>
                      <a:pt x="6005" y="3842"/>
                      <a:pt x="6260" y="3931"/>
                      <a:pt x="6532" y="3931"/>
                    </a:cubicBezTo>
                    <a:cubicBezTo>
                      <a:pt x="6870" y="3931"/>
                      <a:pt x="7175" y="3798"/>
                      <a:pt x="7397" y="3581"/>
                    </a:cubicBezTo>
                    <a:cubicBezTo>
                      <a:pt x="7884" y="3792"/>
                      <a:pt x="8699" y="3931"/>
                      <a:pt x="9630" y="3931"/>
                    </a:cubicBezTo>
                    <a:cubicBezTo>
                      <a:pt x="10218" y="3931"/>
                      <a:pt x="10761" y="3875"/>
                      <a:pt x="11205" y="3781"/>
                    </a:cubicBezTo>
                    <a:cubicBezTo>
                      <a:pt x="11294" y="4141"/>
                      <a:pt x="11577" y="4424"/>
                      <a:pt x="11931" y="4518"/>
                    </a:cubicBezTo>
                    <a:cubicBezTo>
                      <a:pt x="11931" y="4530"/>
                      <a:pt x="11931" y="4535"/>
                      <a:pt x="11931" y="4541"/>
                    </a:cubicBezTo>
                    <a:cubicBezTo>
                      <a:pt x="11931" y="4896"/>
                      <a:pt x="12203" y="5189"/>
                      <a:pt x="12558" y="5223"/>
                    </a:cubicBezTo>
                    <a:cubicBezTo>
                      <a:pt x="12624" y="5489"/>
                      <a:pt x="12868" y="5683"/>
                      <a:pt x="13157" y="5683"/>
                    </a:cubicBezTo>
                    <a:cubicBezTo>
                      <a:pt x="13501" y="5683"/>
                      <a:pt x="13783" y="5406"/>
                      <a:pt x="13783" y="5067"/>
                    </a:cubicBezTo>
                    <a:cubicBezTo>
                      <a:pt x="13783" y="4940"/>
                      <a:pt x="13739" y="4818"/>
                      <a:pt x="13673" y="4724"/>
                    </a:cubicBezTo>
                    <a:cubicBezTo>
                      <a:pt x="14016" y="4701"/>
                      <a:pt x="14288" y="4419"/>
                      <a:pt x="14288" y="4069"/>
                    </a:cubicBezTo>
                    <a:close/>
                    <a:moveTo>
                      <a:pt x="11604" y="2517"/>
                    </a:moveTo>
                    <a:lnTo>
                      <a:pt x="11604" y="2517"/>
                    </a:lnTo>
                    <a:cubicBezTo>
                      <a:pt x="11626" y="2556"/>
                      <a:pt x="11660" y="2583"/>
                      <a:pt x="11687" y="2611"/>
                    </a:cubicBezTo>
                    <a:cubicBezTo>
                      <a:pt x="11643" y="2594"/>
                      <a:pt x="11593" y="2583"/>
                      <a:pt x="11538" y="2567"/>
                    </a:cubicBezTo>
                    <a:cubicBezTo>
                      <a:pt x="11560" y="2550"/>
                      <a:pt x="11582" y="2534"/>
                      <a:pt x="11604" y="251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  <a:extLst/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</p:grpSp>
        <p:grpSp>
          <p:nvGrpSpPr>
            <p:cNvPr id="7" name="Group 126">
              <a:extLst>
                <a:ext uri="{FF2B5EF4-FFF2-40B4-BE49-F238E27FC236}">
                  <a16:creationId xmlns:a16="http://schemas.microsoft.com/office/drawing/2014/main" id="{CD989F57-B5FB-469C-9916-3D28DE89EB36}"/>
                </a:ext>
              </a:extLst>
            </p:cNvPr>
            <p:cNvGrpSpPr/>
            <p:nvPr/>
          </p:nvGrpSpPr>
          <p:grpSpPr>
            <a:xfrm>
              <a:off x="5871070" y="2464044"/>
              <a:ext cx="3668775" cy="2485961"/>
              <a:chOff x="11271562" y="5846272"/>
              <a:chExt cx="7765365" cy="5261809"/>
            </a:xfrm>
          </p:grpSpPr>
          <p:sp>
            <p:nvSpPr>
              <p:cNvPr id="8" name="Freeform 3">
                <a:extLst>
                  <a:ext uri="{FF2B5EF4-FFF2-40B4-BE49-F238E27FC236}">
                    <a16:creationId xmlns:a16="http://schemas.microsoft.com/office/drawing/2014/main" id="{F4601766-DF4B-429C-9AC9-041CD3165F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1271562" y="5846272"/>
                <a:ext cx="6795862" cy="3842141"/>
              </a:xfrm>
              <a:custGeom>
                <a:avLst/>
                <a:gdLst>
                  <a:gd name="T0" fmla="*/ 13994 w 13995"/>
                  <a:gd name="T1" fmla="*/ 94 h 7912"/>
                  <a:gd name="T2" fmla="*/ 13994 w 13995"/>
                  <a:gd name="T3" fmla="*/ 94 h 7912"/>
                  <a:gd name="T4" fmla="*/ 1785 w 13995"/>
                  <a:gd name="T5" fmla="*/ 2928 h 7912"/>
                  <a:gd name="T6" fmla="*/ 5733 w 13995"/>
                  <a:gd name="T7" fmla="*/ 7789 h 7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995" h="7912">
                    <a:moveTo>
                      <a:pt x="13994" y="94"/>
                    </a:moveTo>
                    <a:lnTo>
                      <a:pt x="13994" y="94"/>
                    </a:lnTo>
                    <a:cubicBezTo>
                      <a:pt x="10563" y="1841"/>
                      <a:pt x="3565" y="0"/>
                      <a:pt x="1785" y="2928"/>
                    </a:cubicBezTo>
                    <a:cubicBezTo>
                      <a:pt x="0" y="5854"/>
                      <a:pt x="2750" y="7911"/>
                      <a:pt x="5733" y="7789"/>
                    </a:cubicBezTo>
                  </a:path>
                </a:pathLst>
              </a:custGeom>
              <a:noFill/>
              <a:ln w="20160" cap="flat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71986" tIns="35993" rIns="71986" bIns="35993"/>
              <a:lstStyle/>
              <a:p>
                <a:endParaRPr lang="en-US" sz="1087"/>
              </a:p>
            </p:txBody>
          </p:sp>
          <p:sp>
            <p:nvSpPr>
              <p:cNvPr id="9" name="Freeform 4">
                <a:extLst>
                  <a:ext uri="{FF2B5EF4-FFF2-40B4-BE49-F238E27FC236}">
                    <a16:creationId xmlns:a16="http://schemas.microsoft.com/office/drawing/2014/main" id="{4DEB7715-50D7-442C-96E5-E69E7E39A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2241065" y="7265940"/>
                <a:ext cx="6795862" cy="3842141"/>
              </a:xfrm>
              <a:custGeom>
                <a:avLst/>
                <a:gdLst>
                  <a:gd name="T0" fmla="*/ 13995 w 13996"/>
                  <a:gd name="T1" fmla="*/ 94 h 7912"/>
                  <a:gd name="T2" fmla="*/ 13995 w 13996"/>
                  <a:gd name="T3" fmla="*/ 94 h 7912"/>
                  <a:gd name="T4" fmla="*/ 1786 w 13996"/>
                  <a:gd name="T5" fmla="*/ 2927 h 7912"/>
                  <a:gd name="T6" fmla="*/ 5734 w 13996"/>
                  <a:gd name="T7" fmla="*/ 7789 h 7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996" h="7912">
                    <a:moveTo>
                      <a:pt x="13995" y="94"/>
                    </a:moveTo>
                    <a:lnTo>
                      <a:pt x="13995" y="94"/>
                    </a:lnTo>
                    <a:cubicBezTo>
                      <a:pt x="10563" y="1840"/>
                      <a:pt x="3566" y="0"/>
                      <a:pt x="1786" y="2927"/>
                    </a:cubicBezTo>
                    <a:cubicBezTo>
                      <a:pt x="0" y="5854"/>
                      <a:pt x="2751" y="7911"/>
                      <a:pt x="5734" y="7789"/>
                    </a:cubicBezTo>
                  </a:path>
                </a:pathLst>
              </a:custGeom>
              <a:noFill/>
              <a:ln w="20160" cap="flat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71986" tIns="35993" rIns="71986" bIns="35993"/>
              <a:lstStyle/>
              <a:p>
                <a:endParaRPr lang="en-US" sz="1087"/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594F1F6C-2112-4C21-9033-5B49E80F21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1342175" y="6807155"/>
                <a:ext cx="6795862" cy="3842141"/>
              </a:xfrm>
              <a:custGeom>
                <a:avLst/>
                <a:gdLst>
                  <a:gd name="T0" fmla="*/ 13994 w 13995"/>
                  <a:gd name="T1" fmla="*/ 94 h 7912"/>
                  <a:gd name="T2" fmla="*/ 13994 w 13995"/>
                  <a:gd name="T3" fmla="*/ 94 h 7912"/>
                  <a:gd name="T4" fmla="*/ 1785 w 13995"/>
                  <a:gd name="T5" fmla="*/ 2926 h 7912"/>
                  <a:gd name="T6" fmla="*/ 5739 w 13995"/>
                  <a:gd name="T7" fmla="*/ 7789 h 7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995" h="7912">
                    <a:moveTo>
                      <a:pt x="13994" y="94"/>
                    </a:moveTo>
                    <a:lnTo>
                      <a:pt x="13994" y="94"/>
                    </a:lnTo>
                    <a:cubicBezTo>
                      <a:pt x="10568" y="1840"/>
                      <a:pt x="3571" y="0"/>
                      <a:pt x="1785" y="2926"/>
                    </a:cubicBezTo>
                    <a:cubicBezTo>
                      <a:pt x="0" y="5854"/>
                      <a:pt x="2756" y="7911"/>
                      <a:pt x="5739" y="7789"/>
                    </a:cubicBezTo>
                  </a:path>
                </a:pathLst>
              </a:custGeom>
              <a:noFill/>
              <a:ln w="59760" cap="flat">
                <a:solidFill>
                  <a:schemeClr val="accent3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71986" tIns="35993" rIns="71986" bIns="35993"/>
              <a:lstStyle/>
              <a:p>
                <a:endParaRPr lang="en-US" sz="1087"/>
              </a:p>
            </p:txBody>
          </p:sp>
        </p:grpSp>
        <p:grpSp>
          <p:nvGrpSpPr>
            <p:cNvPr id="31" name="Group 4">
              <a:extLst>
                <a:ext uri="{FF2B5EF4-FFF2-40B4-BE49-F238E27FC236}">
                  <a16:creationId xmlns:a16="http://schemas.microsoft.com/office/drawing/2014/main" id="{580BB44E-AD5D-4EC0-A7C5-844FAF8A4330}"/>
                </a:ext>
              </a:extLst>
            </p:cNvPr>
            <p:cNvGrpSpPr/>
            <p:nvPr/>
          </p:nvGrpSpPr>
          <p:grpSpPr>
            <a:xfrm>
              <a:off x="8762759" y="1737059"/>
              <a:ext cx="1699827" cy="1325083"/>
              <a:chOff x="17392138" y="4307530"/>
              <a:chExt cx="3597870" cy="2804683"/>
            </a:xfrm>
          </p:grpSpPr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5501CD29-5D83-4B06-83E5-EF8ACA4ABC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434406" y="5853598"/>
                <a:ext cx="1295368" cy="1023714"/>
              </a:xfrm>
              <a:custGeom>
                <a:avLst/>
                <a:gdLst>
                  <a:gd name="T0" fmla="*/ 1936 w 2669"/>
                  <a:gd name="T1" fmla="*/ 820 h 2108"/>
                  <a:gd name="T2" fmla="*/ 1936 w 2669"/>
                  <a:gd name="T3" fmla="*/ 820 h 2108"/>
                  <a:gd name="T4" fmla="*/ 2668 w 2669"/>
                  <a:gd name="T5" fmla="*/ 0 h 2108"/>
                  <a:gd name="T6" fmla="*/ 572 w 2669"/>
                  <a:gd name="T7" fmla="*/ 793 h 2108"/>
                  <a:gd name="T8" fmla="*/ 455 w 2669"/>
                  <a:gd name="T9" fmla="*/ 1658 h 2108"/>
                  <a:gd name="T10" fmla="*/ 1936 w 2669"/>
                  <a:gd name="T11" fmla="*/ 820 h 2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69" h="2108">
                    <a:moveTo>
                      <a:pt x="1936" y="820"/>
                    </a:moveTo>
                    <a:lnTo>
                      <a:pt x="1936" y="820"/>
                    </a:lnTo>
                    <a:cubicBezTo>
                      <a:pt x="1936" y="820"/>
                      <a:pt x="1686" y="482"/>
                      <a:pt x="2668" y="0"/>
                    </a:cubicBezTo>
                    <a:cubicBezTo>
                      <a:pt x="572" y="793"/>
                      <a:pt x="572" y="793"/>
                      <a:pt x="572" y="793"/>
                    </a:cubicBezTo>
                    <a:cubicBezTo>
                      <a:pt x="572" y="793"/>
                      <a:pt x="910" y="1214"/>
                      <a:pt x="455" y="1658"/>
                    </a:cubicBezTo>
                    <a:cubicBezTo>
                      <a:pt x="0" y="2107"/>
                      <a:pt x="1936" y="820"/>
                      <a:pt x="1936" y="820"/>
                    </a:cubicBez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3" name="Freeform 7">
                <a:extLst>
                  <a:ext uri="{FF2B5EF4-FFF2-40B4-BE49-F238E27FC236}">
                    <a16:creationId xmlns:a16="http://schemas.microsoft.com/office/drawing/2014/main" id="{283AFAA1-69F2-4570-9366-1D40621ACC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567836" y="6095970"/>
                <a:ext cx="1295366" cy="815972"/>
              </a:xfrm>
              <a:custGeom>
                <a:avLst/>
                <a:gdLst>
                  <a:gd name="T0" fmla="*/ 2667 w 2668"/>
                  <a:gd name="T1" fmla="*/ 222 h 1681"/>
                  <a:gd name="T2" fmla="*/ 2667 w 2668"/>
                  <a:gd name="T3" fmla="*/ 222 h 1681"/>
                  <a:gd name="T4" fmla="*/ 1586 w 2668"/>
                  <a:gd name="T5" fmla="*/ 1198 h 1681"/>
                  <a:gd name="T6" fmla="*/ 133 w 2668"/>
                  <a:gd name="T7" fmla="*/ 1630 h 1681"/>
                  <a:gd name="T8" fmla="*/ 67 w 2668"/>
                  <a:gd name="T9" fmla="*/ 1497 h 1681"/>
                  <a:gd name="T10" fmla="*/ 0 w 2668"/>
                  <a:gd name="T11" fmla="*/ 1364 h 1681"/>
                  <a:gd name="T12" fmla="*/ 1231 w 2668"/>
                  <a:gd name="T13" fmla="*/ 483 h 1681"/>
                  <a:gd name="T14" fmla="*/ 2667 w 2668"/>
                  <a:gd name="T15" fmla="*/ 222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68" h="1681">
                    <a:moveTo>
                      <a:pt x="2667" y="222"/>
                    </a:moveTo>
                    <a:lnTo>
                      <a:pt x="2667" y="222"/>
                    </a:lnTo>
                    <a:cubicBezTo>
                      <a:pt x="2667" y="222"/>
                      <a:pt x="2573" y="715"/>
                      <a:pt x="1586" y="1198"/>
                    </a:cubicBezTo>
                    <a:cubicBezTo>
                      <a:pt x="599" y="1680"/>
                      <a:pt x="133" y="1630"/>
                      <a:pt x="133" y="1630"/>
                    </a:cubicBezTo>
                    <a:cubicBezTo>
                      <a:pt x="67" y="1497"/>
                      <a:pt x="67" y="1497"/>
                      <a:pt x="67" y="1497"/>
                    </a:cubicBezTo>
                    <a:cubicBezTo>
                      <a:pt x="0" y="1364"/>
                      <a:pt x="0" y="1364"/>
                      <a:pt x="0" y="1364"/>
                    </a:cubicBezTo>
                    <a:cubicBezTo>
                      <a:pt x="0" y="1364"/>
                      <a:pt x="244" y="965"/>
                      <a:pt x="1231" y="483"/>
                    </a:cubicBezTo>
                    <a:cubicBezTo>
                      <a:pt x="2224" y="0"/>
                      <a:pt x="2667" y="222"/>
                      <a:pt x="2667" y="222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  <a:extLst/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4" name="Freeform 8">
                <a:extLst>
                  <a:ext uri="{FF2B5EF4-FFF2-40B4-BE49-F238E27FC236}">
                    <a16:creationId xmlns:a16="http://schemas.microsoft.com/office/drawing/2014/main" id="{1F21FB9D-574B-4F2C-9F32-2176364091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9375209" y="6170351"/>
                <a:ext cx="237662" cy="346949"/>
              </a:xfrm>
              <a:custGeom>
                <a:avLst/>
                <a:gdLst>
                  <a:gd name="T0" fmla="*/ 488 w 489"/>
                  <a:gd name="T1" fmla="*/ 593 h 716"/>
                  <a:gd name="T2" fmla="*/ 488 w 489"/>
                  <a:gd name="T3" fmla="*/ 593 h 716"/>
                  <a:gd name="T4" fmla="*/ 321 w 489"/>
                  <a:gd name="T5" fmla="*/ 715 h 716"/>
                  <a:gd name="T6" fmla="*/ 0 w 489"/>
                  <a:gd name="T7" fmla="*/ 55 h 716"/>
                  <a:gd name="T8" fmla="*/ 199 w 489"/>
                  <a:gd name="T9" fmla="*/ 0 h 716"/>
                  <a:gd name="T10" fmla="*/ 488 w 489"/>
                  <a:gd name="T11" fmla="*/ 593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9" h="716">
                    <a:moveTo>
                      <a:pt x="488" y="593"/>
                    </a:moveTo>
                    <a:lnTo>
                      <a:pt x="488" y="593"/>
                    </a:lnTo>
                    <a:cubicBezTo>
                      <a:pt x="438" y="632"/>
                      <a:pt x="382" y="671"/>
                      <a:pt x="321" y="715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72" y="33"/>
                      <a:pt x="138" y="11"/>
                      <a:pt x="199" y="0"/>
                    </a:cubicBezTo>
                    <a:lnTo>
                      <a:pt x="488" y="593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5" name="Freeform 9">
                <a:extLst>
                  <a:ext uri="{FF2B5EF4-FFF2-40B4-BE49-F238E27FC236}">
                    <a16:creationId xmlns:a16="http://schemas.microsoft.com/office/drawing/2014/main" id="{094E5952-59A8-4736-B0E7-86C332BC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9535642" y="6092496"/>
                <a:ext cx="293332" cy="284842"/>
              </a:xfrm>
              <a:custGeom>
                <a:avLst/>
                <a:gdLst>
                  <a:gd name="T0" fmla="*/ 0 w 605"/>
                  <a:gd name="T1" fmla="*/ 66 h 588"/>
                  <a:gd name="T2" fmla="*/ 0 w 605"/>
                  <a:gd name="T3" fmla="*/ 66 h 588"/>
                  <a:gd name="T4" fmla="*/ 604 w 605"/>
                  <a:gd name="T5" fmla="*/ 94 h 588"/>
                  <a:gd name="T6" fmla="*/ 255 w 605"/>
                  <a:gd name="T7" fmla="*/ 587 h 588"/>
                  <a:gd name="T8" fmla="*/ 0 w 605"/>
                  <a:gd name="T9" fmla="*/ 66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5" h="588">
                    <a:moveTo>
                      <a:pt x="0" y="66"/>
                    </a:moveTo>
                    <a:lnTo>
                      <a:pt x="0" y="66"/>
                    </a:lnTo>
                    <a:cubicBezTo>
                      <a:pt x="416" y="0"/>
                      <a:pt x="604" y="94"/>
                      <a:pt x="604" y="94"/>
                    </a:cubicBezTo>
                    <a:cubicBezTo>
                      <a:pt x="604" y="94"/>
                      <a:pt x="566" y="305"/>
                      <a:pt x="255" y="587"/>
                    </a:cubicBezTo>
                    <a:lnTo>
                      <a:pt x="0" y="66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id="{4916F8D9-EAF4-4247-B159-29D7055AA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506032" y="6845550"/>
                <a:ext cx="179852" cy="197034"/>
              </a:xfrm>
              <a:custGeom>
                <a:avLst/>
                <a:gdLst>
                  <a:gd name="T0" fmla="*/ 0 w 372"/>
                  <a:gd name="T1" fmla="*/ 83 h 406"/>
                  <a:gd name="T2" fmla="*/ 161 w 372"/>
                  <a:gd name="T3" fmla="*/ 405 h 406"/>
                  <a:gd name="T4" fmla="*/ 371 w 372"/>
                  <a:gd name="T5" fmla="*/ 272 h 406"/>
                  <a:gd name="T6" fmla="*/ 238 w 372"/>
                  <a:gd name="T7" fmla="*/ 0 h 406"/>
                  <a:gd name="T8" fmla="*/ 0 w 372"/>
                  <a:gd name="T9" fmla="*/ 83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2" h="406">
                    <a:moveTo>
                      <a:pt x="0" y="83"/>
                    </a:moveTo>
                    <a:lnTo>
                      <a:pt x="161" y="405"/>
                    </a:lnTo>
                    <a:lnTo>
                      <a:pt x="371" y="272"/>
                    </a:lnTo>
                    <a:lnTo>
                      <a:pt x="238" y="0"/>
                    </a:lnTo>
                    <a:lnTo>
                      <a:pt x="0" y="83"/>
                    </a:lnTo>
                  </a:path>
                </a:pathLst>
              </a:custGeom>
              <a:solidFill>
                <a:srgbClr val="81818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id="{FA7CD425-5219-4482-AAB1-D4528ED14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342527" y="6908756"/>
                <a:ext cx="246226" cy="203457"/>
              </a:xfrm>
              <a:custGeom>
                <a:avLst/>
                <a:gdLst>
                  <a:gd name="T0" fmla="*/ 354 w 505"/>
                  <a:gd name="T1" fmla="*/ 5 h 417"/>
                  <a:gd name="T2" fmla="*/ 354 w 505"/>
                  <a:gd name="T3" fmla="*/ 5 h 417"/>
                  <a:gd name="T4" fmla="*/ 432 w 505"/>
                  <a:gd name="T5" fmla="*/ 155 h 417"/>
                  <a:gd name="T6" fmla="*/ 504 w 505"/>
                  <a:gd name="T7" fmla="*/ 305 h 417"/>
                  <a:gd name="T8" fmla="*/ 349 w 505"/>
                  <a:gd name="T9" fmla="*/ 416 h 417"/>
                  <a:gd name="T10" fmla="*/ 360 w 505"/>
                  <a:gd name="T11" fmla="*/ 333 h 417"/>
                  <a:gd name="T12" fmla="*/ 0 w 505"/>
                  <a:gd name="T13" fmla="*/ 366 h 417"/>
                  <a:gd name="T14" fmla="*/ 244 w 505"/>
                  <a:gd name="T15" fmla="*/ 100 h 417"/>
                  <a:gd name="T16" fmla="*/ 177 w 505"/>
                  <a:gd name="T17" fmla="*/ 61 h 417"/>
                  <a:gd name="T18" fmla="*/ 354 w 505"/>
                  <a:gd name="T19" fmla="*/ 5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5" h="417">
                    <a:moveTo>
                      <a:pt x="354" y="5"/>
                    </a:moveTo>
                    <a:lnTo>
                      <a:pt x="354" y="5"/>
                    </a:lnTo>
                    <a:cubicBezTo>
                      <a:pt x="432" y="155"/>
                      <a:pt x="432" y="155"/>
                      <a:pt x="432" y="155"/>
                    </a:cubicBezTo>
                    <a:cubicBezTo>
                      <a:pt x="504" y="305"/>
                      <a:pt x="504" y="305"/>
                      <a:pt x="504" y="305"/>
                    </a:cubicBezTo>
                    <a:cubicBezTo>
                      <a:pt x="504" y="305"/>
                      <a:pt x="449" y="388"/>
                      <a:pt x="349" y="416"/>
                    </a:cubicBezTo>
                    <a:cubicBezTo>
                      <a:pt x="349" y="416"/>
                      <a:pt x="382" y="355"/>
                      <a:pt x="360" y="333"/>
                    </a:cubicBezTo>
                    <a:cubicBezTo>
                      <a:pt x="360" y="333"/>
                      <a:pt x="155" y="416"/>
                      <a:pt x="0" y="366"/>
                    </a:cubicBezTo>
                    <a:cubicBezTo>
                      <a:pt x="55" y="216"/>
                      <a:pt x="244" y="100"/>
                      <a:pt x="244" y="100"/>
                    </a:cubicBezTo>
                    <a:cubicBezTo>
                      <a:pt x="244" y="72"/>
                      <a:pt x="177" y="61"/>
                      <a:pt x="177" y="61"/>
                    </a:cubicBezTo>
                    <a:cubicBezTo>
                      <a:pt x="255" y="0"/>
                      <a:pt x="354" y="5"/>
                      <a:pt x="354" y="5"/>
                    </a:cubicBezTo>
                  </a:path>
                </a:pathLst>
              </a:custGeom>
              <a:solidFill>
                <a:srgbClr val="F6932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ECF9A6B5-FEA3-4F95-8A64-A3A724BB35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396088" y="6909838"/>
                <a:ext cx="184135" cy="167050"/>
              </a:xfrm>
              <a:custGeom>
                <a:avLst/>
                <a:gdLst>
                  <a:gd name="T0" fmla="*/ 266 w 378"/>
                  <a:gd name="T1" fmla="*/ 33 h 345"/>
                  <a:gd name="T2" fmla="*/ 266 w 378"/>
                  <a:gd name="T3" fmla="*/ 33 h 345"/>
                  <a:gd name="T4" fmla="*/ 321 w 378"/>
                  <a:gd name="T5" fmla="*/ 144 h 345"/>
                  <a:gd name="T6" fmla="*/ 377 w 378"/>
                  <a:gd name="T7" fmla="*/ 255 h 345"/>
                  <a:gd name="T8" fmla="*/ 288 w 378"/>
                  <a:gd name="T9" fmla="*/ 344 h 345"/>
                  <a:gd name="T10" fmla="*/ 266 w 378"/>
                  <a:gd name="T11" fmla="*/ 277 h 345"/>
                  <a:gd name="T12" fmla="*/ 0 w 378"/>
                  <a:gd name="T13" fmla="*/ 299 h 345"/>
                  <a:gd name="T14" fmla="*/ 182 w 378"/>
                  <a:gd name="T15" fmla="*/ 105 h 345"/>
                  <a:gd name="T16" fmla="*/ 138 w 378"/>
                  <a:gd name="T17" fmla="*/ 50 h 345"/>
                  <a:gd name="T18" fmla="*/ 266 w 378"/>
                  <a:gd name="T19" fmla="*/ 3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8" h="345">
                    <a:moveTo>
                      <a:pt x="266" y="33"/>
                    </a:moveTo>
                    <a:lnTo>
                      <a:pt x="266" y="33"/>
                    </a:lnTo>
                    <a:cubicBezTo>
                      <a:pt x="321" y="144"/>
                      <a:pt x="321" y="144"/>
                      <a:pt x="321" y="144"/>
                    </a:cubicBezTo>
                    <a:cubicBezTo>
                      <a:pt x="377" y="255"/>
                      <a:pt x="377" y="255"/>
                      <a:pt x="377" y="255"/>
                    </a:cubicBezTo>
                    <a:cubicBezTo>
                      <a:pt x="377" y="255"/>
                      <a:pt x="360" y="327"/>
                      <a:pt x="288" y="344"/>
                    </a:cubicBezTo>
                    <a:cubicBezTo>
                      <a:pt x="288" y="344"/>
                      <a:pt x="282" y="294"/>
                      <a:pt x="266" y="277"/>
                    </a:cubicBezTo>
                    <a:cubicBezTo>
                      <a:pt x="266" y="277"/>
                      <a:pt x="116" y="338"/>
                      <a:pt x="0" y="299"/>
                    </a:cubicBezTo>
                    <a:cubicBezTo>
                      <a:pt x="38" y="188"/>
                      <a:pt x="182" y="105"/>
                      <a:pt x="182" y="105"/>
                    </a:cubicBezTo>
                    <a:cubicBezTo>
                      <a:pt x="177" y="83"/>
                      <a:pt x="138" y="50"/>
                      <a:pt x="138" y="50"/>
                    </a:cubicBezTo>
                    <a:cubicBezTo>
                      <a:pt x="199" y="0"/>
                      <a:pt x="266" y="33"/>
                      <a:pt x="266" y="33"/>
                    </a:cubicBezTo>
                  </a:path>
                </a:pathLst>
              </a:custGeom>
              <a:solidFill>
                <a:srgbClr val="FAED2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id="{C765863D-8D86-4C1E-92BA-ACD47EBD8A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451125" y="6934813"/>
                <a:ext cx="115619" cy="104942"/>
              </a:xfrm>
              <a:custGeom>
                <a:avLst/>
                <a:gdLst>
                  <a:gd name="T0" fmla="*/ 172 w 239"/>
                  <a:gd name="T1" fmla="*/ 17 h 218"/>
                  <a:gd name="T2" fmla="*/ 172 w 239"/>
                  <a:gd name="T3" fmla="*/ 17 h 218"/>
                  <a:gd name="T4" fmla="*/ 205 w 239"/>
                  <a:gd name="T5" fmla="*/ 89 h 218"/>
                  <a:gd name="T6" fmla="*/ 238 w 239"/>
                  <a:gd name="T7" fmla="*/ 161 h 218"/>
                  <a:gd name="T8" fmla="*/ 183 w 239"/>
                  <a:gd name="T9" fmla="*/ 217 h 218"/>
                  <a:gd name="T10" fmla="*/ 172 w 239"/>
                  <a:gd name="T11" fmla="*/ 172 h 218"/>
                  <a:gd name="T12" fmla="*/ 0 w 239"/>
                  <a:gd name="T13" fmla="*/ 189 h 218"/>
                  <a:gd name="T14" fmla="*/ 116 w 239"/>
                  <a:gd name="T15" fmla="*/ 61 h 218"/>
                  <a:gd name="T16" fmla="*/ 89 w 239"/>
                  <a:gd name="T17" fmla="*/ 28 h 218"/>
                  <a:gd name="T18" fmla="*/ 172 w 239"/>
                  <a:gd name="T19" fmla="*/ 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9" h="218">
                    <a:moveTo>
                      <a:pt x="172" y="17"/>
                    </a:moveTo>
                    <a:lnTo>
                      <a:pt x="172" y="17"/>
                    </a:lnTo>
                    <a:cubicBezTo>
                      <a:pt x="205" y="89"/>
                      <a:pt x="205" y="89"/>
                      <a:pt x="205" y="89"/>
                    </a:cubicBezTo>
                    <a:cubicBezTo>
                      <a:pt x="238" y="161"/>
                      <a:pt x="238" y="161"/>
                      <a:pt x="238" y="161"/>
                    </a:cubicBezTo>
                    <a:cubicBezTo>
                      <a:pt x="238" y="161"/>
                      <a:pt x="227" y="200"/>
                      <a:pt x="183" y="217"/>
                    </a:cubicBezTo>
                    <a:cubicBezTo>
                      <a:pt x="183" y="217"/>
                      <a:pt x="183" y="183"/>
                      <a:pt x="172" y="172"/>
                    </a:cubicBezTo>
                    <a:cubicBezTo>
                      <a:pt x="172" y="172"/>
                      <a:pt x="72" y="211"/>
                      <a:pt x="0" y="189"/>
                    </a:cubicBezTo>
                    <a:cubicBezTo>
                      <a:pt x="28" y="117"/>
                      <a:pt x="116" y="61"/>
                      <a:pt x="116" y="61"/>
                    </a:cubicBezTo>
                    <a:cubicBezTo>
                      <a:pt x="116" y="50"/>
                      <a:pt x="89" y="28"/>
                      <a:pt x="89" y="28"/>
                    </a:cubicBezTo>
                    <a:cubicBezTo>
                      <a:pt x="127" y="0"/>
                      <a:pt x="172" y="17"/>
                      <a:pt x="172" y="17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id="{A85A6753-55B7-44B8-9DEC-9C89253C36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565616" y="5086577"/>
                <a:ext cx="1603687" cy="571823"/>
              </a:xfrm>
              <a:custGeom>
                <a:avLst/>
                <a:gdLst>
                  <a:gd name="T0" fmla="*/ 2202 w 3301"/>
                  <a:gd name="T1" fmla="*/ 77 h 1176"/>
                  <a:gd name="T2" fmla="*/ 2202 w 3301"/>
                  <a:gd name="T3" fmla="*/ 77 h 1176"/>
                  <a:gd name="T4" fmla="*/ 3300 w 3301"/>
                  <a:gd name="T5" fmla="*/ 0 h 1176"/>
                  <a:gd name="T6" fmla="*/ 1392 w 3301"/>
                  <a:gd name="T7" fmla="*/ 1175 h 1176"/>
                  <a:gd name="T8" fmla="*/ 633 w 3301"/>
                  <a:gd name="T9" fmla="*/ 732 h 1176"/>
                  <a:gd name="T10" fmla="*/ 2202 w 3301"/>
                  <a:gd name="T11" fmla="*/ 77 h 1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301" h="1176">
                    <a:moveTo>
                      <a:pt x="2202" y="77"/>
                    </a:moveTo>
                    <a:lnTo>
                      <a:pt x="2202" y="77"/>
                    </a:lnTo>
                    <a:cubicBezTo>
                      <a:pt x="2202" y="77"/>
                      <a:pt x="2318" y="482"/>
                      <a:pt x="3300" y="0"/>
                    </a:cubicBezTo>
                    <a:cubicBezTo>
                      <a:pt x="1392" y="1175"/>
                      <a:pt x="1392" y="1175"/>
                      <a:pt x="1392" y="1175"/>
                    </a:cubicBezTo>
                    <a:cubicBezTo>
                      <a:pt x="1392" y="1175"/>
                      <a:pt x="1265" y="648"/>
                      <a:pt x="633" y="732"/>
                    </a:cubicBezTo>
                    <a:cubicBezTo>
                      <a:pt x="0" y="820"/>
                      <a:pt x="2202" y="77"/>
                      <a:pt x="2202" y="77"/>
                    </a:cubicBez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id="{22C6E641-30E6-4AA5-B716-854D0902C7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797623" y="4315578"/>
                <a:ext cx="3192385" cy="2017445"/>
              </a:xfrm>
              <a:custGeom>
                <a:avLst/>
                <a:gdLst>
                  <a:gd name="T0" fmla="*/ 6576 w 6577"/>
                  <a:gd name="T1" fmla="*/ 555 h 4154"/>
                  <a:gd name="T2" fmla="*/ 6576 w 6577"/>
                  <a:gd name="T3" fmla="*/ 555 h 4154"/>
                  <a:gd name="T4" fmla="*/ 3038 w 6577"/>
                  <a:gd name="T5" fmla="*/ 1192 h 4154"/>
                  <a:gd name="T6" fmla="*/ 0 w 6577"/>
                  <a:gd name="T7" fmla="*/ 3371 h 4154"/>
                  <a:gd name="T8" fmla="*/ 161 w 6577"/>
                  <a:gd name="T9" fmla="*/ 3698 h 4154"/>
                  <a:gd name="T10" fmla="*/ 321 w 6577"/>
                  <a:gd name="T11" fmla="*/ 4031 h 4154"/>
                  <a:gd name="T12" fmla="*/ 3903 w 6577"/>
                  <a:gd name="T13" fmla="*/ 2961 h 4154"/>
                  <a:gd name="T14" fmla="*/ 6576 w 6577"/>
                  <a:gd name="T15" fmla="*/ 555 h 4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577" h="4154">
                    <a:moveTo>
                      <a:pt x="6576" y="555"/>
                    </a:moveTo>
                    <a:lnTo>
                      <a:pt x="6576" y="555"/>
                    </a:lnTo>
                    <a:cubicBezTo>
                      <a:pt x="6576" y="555"/>
                      <a:pt x="5472" y="0"/>
                      <a:pt x="3038" y="1192"/>
                    </a:cubicBezTo>
                    <a:cubicBezTo>
                      <a:pt x="604" y="2390"/>
                      <a:pt x="0" y="3371"/>
                      <a:pt x="0" y="3371"/>
                    </a:cubicBezTo>
                    <a:cubicBezTo>
                      <a:pt x="161" y="3698"/>
                      <a:pt x="161" y="3698"/>
                      <a:pt x="161" y="3698"/>
                    </a:cubicBezTo>
                    <a:cubicBezTo>
                      <a:pt x="321" y="4031"/>
                      <a:pt x="321" y="4031"/>
                      <a:pt x="321" y="4031"/>
                    </a:cubicBezTo>
                    <a:cubicBezTo>
                      <a:pt x="321" y="4031"/>
                      <a:pt x="1469" y="4153"/>
                      <a:pt x="3903" y="2961"/>
                    </a:cubicBezTo>
                    <a:cubicBezTo>
                      <a:pt x="6343" y="1763"/>
                      <a:pt x="6576" y="555"/>
                      <a:pt x="6576" y="55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/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2" name="Freeform 16">
                <a:extLst>
                  <a:ext uri="{FF2B5EF4-FFF2-40B4-BE49-F238E27FC236}">
                    <a16:creationId xmlns:a16="http://schemas.microsoft.com/office/drawing/2014/main" id="{0FB351AE-8C2F-4670-BC18-2C5C2DA265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143588" y="5657724"/>
                <a:ext cx="513866" cy="721739"/>
              </a:xfrm>
              <a:custGeom>
                <a:avLst/>
                <a:gdLst>
                  <a:gd name="T0" fmla="*/ 571 w 1060"/>
                  <a:gd name="T1" fmla="*/ 1486 h 1487"/>
                  <a:gd name="T2" fmla="*/ 571 w 1060"/>
                  <a:gd name="T3" fmla="*/ 1486 h 1487"/>
                  <a:gd name="T4" fmla="*/ 1059 w 1060"/>
                  <a:gd name="T5" fmla="*/ 1381 h 1487"/>
                  <a:gd name="T6" fmla="*/ 382 w 1060"/>
                  <a:gd name="T7" fmla="*/ 0 h 1487"/>
                  <a:gd name="T8" fmla="*/ 0 w 1060"/>
                  <a:gd name="T9" fmla="*/ 316 h 1487"/>
                  <a:gd name="T10" fmla="*/ 571 w 1060"/>
                  <a:gd name="T11" fmla="*/ 1486 h 1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60" h="1487">
                    <a:moveTo>
                      <a:pt x="571" y="1486"/>
                    </a:moveTo>
                    <a:lnTo>
                      <a:pt x="571" y="1486"/>
                    </a:lnTo>
                    <a:cubicBezTo>
                      <a:pt x="715" y="1458"/>
                      <a:pt x="876" y="1425"/>
                      <a:pt x="1059" y="1381"/>
                    </a:cubicBezTo>
                    <a:cubicBezTo>
                      <a:pt x="382" y="0"/>
                      <a:pt x="382" y="0"/>
                      <a:pt x="382" y="0"/>
                    </a:cubicBezTo>
                    <a:cubicBezTo>
                      <a:pt x="232" y="117"/>
                      <a:pt x="105" y="222"/>
                      <a:pt x="0" y="316"/>
                    </a:cubicBezTo>
                    <a:lnTo>
                      <a:pt x="571" y="1486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3" name="Freeform 17">
                <a:extLst>
                  <a:ext uri="{FF2B5EF4-FFF2-40B4-BE49-F238E27FC236}">
                    <a16:creationId xmlns:a16="http://schemas.microsoft.com/office/drawing/2014/main" id="{DD8E9CAA-307E-4A0E-B9ED-9F65B8E974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20216038" y="4307530"/>
                <a:ext cx="695859" cy="687472"/>
              </a:xfrm>
              <a:custGeom>
                <a:avLst/>
                <a:gdLst>
                  <a:gd name="T0" fmla="*/ 616 w 1432"/>
                  <a:gd name="T1" fmla="*/ 1414 h 1415"/>
                  <a:gd name="T2" fmla="*/ 616 w 1432"/>
                  <a:gd name="T3" fmla="*/ 1414 h 1415"/>
                  <a:gd name="T4" fmla="*/ 1431 w 1432"/>
                  <a:gd name="T5" fmla="*/ 233 h 1415"/>
                  <a:gd name="T6" fmla="*/ 0 w 1432"/>
                  <a:gd name="T7" fmla="*/ 155 h 1415"/>
                  <a:gd name="T8" fmla="*/ 616 w 1432"/>
                  <a:gd name="T9" fmla="*/ 1414 h 1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2" h="1415">
                    <a:moveTo>
                      <a:pt x="616" y="1414"/>
                    </a:moveTo>
                    <a:lnTo>
                      <a:pt x="616" y="1414"/>
                    </a:lnTo>
                    <a:cubicBezTo>
                      <a:pt x="1337" y="737"/>
                      <a:pt x="1431" y="233"/>
                      <a:pt x="1431" y="233"/>
                    </a:cubicBezTo>
                    <a:cubicBezTo>
                      <a:pt x="1431" y="233"/>
                      <a:pt x="976" y="0"/>
                      <a:pt x="0" y="155"/>
                    </a:cubicBezTo>
                    <a:lnTo>
                      <a:pt x="616" y="1414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4" name="Freeform 18">
                <a:extLst>
                  <a:ext uri="{FF2B5EF4-FFF2-40B4-BE49-F238E27FC236}">
                    <a16:creationId xmlns:a16="http://schemas.microsoft.com/office/drawing/2014/main" id="{1AF1D46D-93B8-4F1C-8DDD-BF508ED0DB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613473" y="4674257"/>
                <a:ext cx="1295366" cy="820255"/>
              </a:xfrm>
              <a:custGeom>
                <a:avLst/>
                <a:gdLst>
                  <a:gd name="T0" fmla="*/ 2667 w 2668"/>
                  <a:gd name="T1" fmla="*/ 227 h 1687"/>
                  <a:gd name="T2" fmla="*/ 2667 w 2668"/>
                  <a:gd name="T3" fmla="*/ 227 h 1687"/>
                  <a:gd name="T4" fmla="*/ 1236 w 2668"/>
                  <a:gd name="T5" fmla="*/ 482 h 1687"/>
                  <a:gd name="T6" fmla="*/ 0 w 2668"/>
                  <a:gd name="T7" fmla="*/ 1364 h 1687"/>
                  <a:gd name="T8" fmla="*/ 66 w 2668"/>
                  <a:gd name="T9" fmla="*/ 1497 h 1687"/>
                  <a:gd name="T10" fmla="*/ 133 w 2668"/>
                  <a:gd name="T11" fmla="*/ 1636 h 1687"/>
                  <a:gd name="T12" fmla="*/ 1586 w 2668"/>
                  <a:gd name="T13" fmla="*/ 1198 h 1687"/>
                  <a:gd name="T14" fmla="*/ 2667 w 2668"/>
                  <a:gd name="T15" fmla="*/ 227 h 16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68" h="1687">
                    <a:moveTo>
                      <a:pt x="2667" y="227"/>
                    </a:moveTo>
                    <a:lnTo>
                      <a:pt x="2667" y="227"/>
                    </a:lnTo>
                    <a:cubicBezTo>
                      <a:pt x="2667" y="227"/>
                      <a:pt x="2223" y="0"/>
                      <a:pt x="1236" y="482"/>
                    </a:cubicBezTo>
                    <a:cubicBezTo>
                      <a:pt x="249" y="970"/>
                      <a:pt x="0" y="1364"/>
                      <a:pt x="0" y="1364"/>
                    </a:cubicBezTo>
                    <a:cubicBezTo>
                      <a:pt x="66" y="1497"/>
                      <a:pt x="66" y="1497"/>
                      <a:pt x="66" y="1497"/>
                    </a:cubicBezTo>
                    <a:cubicBezTo>
                      <a:pt x="133" y="1636"/>
                      <a:pt x="133" y="1636"/>
                      <a:pt x="133" y="1636"/>
                    </a:cubicBezTo>
                    <a:cubicBezTo>
                      <a:pt x="133" y="1636"/>
                      <a:pt x="599" y="1686"/>
                      <a:pt x="1586" y="1198"/>
                    </a:cubicBezTo>
                    <a:cubicBezTo>
                      <a:pt x="2573" y="715"/>
                      <a:pt x="2667" y="227"/>
                      <a:pt x="2667" y="227"/>
                    </a:cubicBezTo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  <a:extLst/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5" name="Freeform 19">
                <a:extLst>
                  <a:ext uri="{FF2B5EF4-FFF2-40B4-BE49-F238E27FC236}">
                    <a16:creationId xmlns:a16="http://schemas.microsoft.com/office/drawing/2014/main" id="{E9E94786-C6B2-4266-B0D1-A572BD44C6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420546" y="4748513"/>
                <a:ext cx="239803" cy="346949"/>
              </a:xfrm>
              <a:custGeom>
                <a:avLst/>
                <a:gdLst>
                  <a:gd name="T0" fmla="*/ 200 w 494"/>
                  <a:gd name="T1" fmla="*/ 0 h 716"/>
                  <a:gd name="T2" fmla="*/ 200 w 494"/>
                  <a:gd name="T3" fmla="*/ 0 h 716"/>
                  <a:gd name="T4" fmla="*/ 0 w 494"/>
                  <a:gd name="T5" fmla="*/ 55 h 716"/>
                  <a:gd name="T6" fmla="*/ 322 w 494"/>
                  <a:gd name="T7" fmla="*/ 715 h 716"/>
                  <a:gd name="T8" fmla="*/ 493 w 494"/>
                  <a:gd name="T9" fmla="*/ 593 h 716"/>
                  <a:gd name="T10" fmla="*/ 200 w 494"/>
                  <a:gd name="T11" fmla="*/ 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4" h="716">
                    <a:moveTo>
                      <a:pt x="200" y="0"/>
                    </a:moveTo>
                    <a:lnTo>
                      <a:pt x="200" y="0"/>
                    </a:lnTo>
                    <a:cubicBezTo>
                      <a:pt x="139" y="17"/>
                      <a:pt x="72" y="33"/>
                      <a:pt x="0" y="55"/>
                    </a:cubicBezTo>
                    <a:cubicBezTo>
                      <a:pt x="322" y="715"/>
                      <a:pt x="322" y="715"/>
                      <a:pt x="322" y="715"/>
                    </a:cubicBezTo>
                    <a:cubicBezTo>
                      <a:pt x="383" y="676"/>
                      <a:pt x="444" y="632"/>
                      <a:pt x="493" y="593"/>
                    </a:cubicBezTo>
                    <a:lnTo>
                      <a:pt x="200" y="0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6" name="Freeform 20">
                <a:extLst>
                  <a:ext uri="{FF2B5EF4-FFF2-40B4-BE49-F238E27FC236}">
                    <a16:creationId xmlns:a16="http://schemas.microsoft.com/office/drawing/2014/main" id="{4C54C451-42E2-444A-A9AB-A2A47801A4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8585241" y="4670367"/>
                <a:ext cx="291191" cy="284842"/>
              </a:xfrm>
              <a:custGeom>
                <a:avLst/>
                <a:gdLst>
                  <a:gd name="T0" fmla="*/ 255 w 600"/>
                  <a:gd name="T1" fmla="*/ 587 h 588"/>
                  <a:gd name="T2" fmla="*/ 255 w 600"/>
                  <a:gd name="T3" fmla="*/ 587 h 588"/>
                  <a:gd name="T4" fmla="*/ 599 w 600"/>
                  <a:gd name="T5" fmla="*/ 99 h 588"/>
                  <a:gd name="T6" fmla="*/ 0 w 600"/>
                  <a:gd name="T7" fmla="*/ 72 h 588"/>
                  <a:gd name="T8" fmla="*/ 255 w 600"/>
                  <a:gd name="T9" fmla="*/ 587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588">
                    <a:moveTo>
                      <a:pt x="255" y="587"/>
                    </a:moveTo>
                    <a:lnTo>
                      <a:pt x="255" y="587"/>
                    </a:lnTo>
                    <a:cubicBezTo>
                      <a:pt x="560" y="310"/>
                      <a:pt x="599" y="99"/>
                      <a:pt x="599" y="99"/>
                    </a:cubicBezTo>
                    <a:cubicBezTo>
                      <a:pt x="599" y="99"/>
                      <a:pt x="410" y="0"/>
                      <a:pt x="0" y="72"/>
                    </a:cubicBezTo>
                    <a:lnTo>
                      <a:pt x="255" y="587"/>
                    </a:lnTo>
                  </a:path>
                </a:pathLst>
              </a:custGeom>
              <a:solidFill>
                <a:srgbClr val="BF282D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7" name="Freeform 21">
                <a:extLst>
                  <a:ext uri="{FF2B5EF4-FFF2-40B4-BE49-F238E27FC236}">
                    <a16:creationId xmlns:a16="http://schemas.microsoft.com/office/drawing/2014/main" id="{7370A403-8FEF-471B-A021-AC596712E8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9622774" y="4739965"/>
                <a:ext cx="573816" cy="573965"/>
              </a:xfrm>
              <a:custGeom>
                <a:avLst/>
                <a:gdLst>
                  <a:gd name="T0" fmla="*/ 821 w 1182"/>
                  <a:gd name="T1" fmla="*/ 1054 h 1182"/>
                  <a:gd name="T2" fmla="*/ 821 w 1182"/>
                  <a:gd name="T3" fmla="*/ 1054 h 1182"/>
                  <a:gd name="T4" fmla="*/ 128 w 1182"/>
                  <a:gd name="T5" fmla="*/ 821 h 1182"/>
                  <a:gd name="T6" fmla="*/ 361 w 1182"/>
                  <a:gd name="T7" fmla="*/ 122 h 1182"/>
                  <a:gd name="T8" fmla="*/ 1059 w 1182"/>
                  <a:gd name="T9" fmla="*/ 361 h 1182"/>
                  <a:gd name="T10" fmla="*/ 821 w 1182"/>
                  <a:gd name="T11" fmla="*/ 1054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82" h="1182">
                    <a:moveTo>
                      <a:pt x="821" y="1054"/>
                    </a:moveTo>
                    <a:lnTo>
                      <a:pt x="821" y="1054"/>
                    </a:lnTo>
                    <a:cubicBezTo>
                      <a:pt x="560" y="1181"/>
                      <a:pt x="250" y="1076"/>
                      <a:pt x="128" y="821"/>
                    </a:cubicBezTo>
                    <a:cubicBezTo>
                      <a:pt x="0" y="560"/>
                      <a:pt x="105" y="250"/>
                      <a:pt x="361" y="122"/>
                    </a:cubicBezTo>
                    <a:cubicBezTo>
                      <a:pt x="621" y="0"/>
                      <a:pt x="932" y="106"/>
                      <a:pt x="1059" y="361"/>
                    </a:cubicBezTo>
                    <a:cubicBezTo>
                      <a:pt x="1181" y="621"/>
                      <a:pt x="1076" y="932"/>
                      <a:pt x="821" y="1054"/>
                    </a:cubicBezTo>
                  </a:path>
                </a:pathLst>
              </a:custGeom>
              <a:solidFill>
                <a:srgbClr val="29355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8" name="Freeform 22">
                <a:extLst>
                  <a:ext uri="{FF2B5EF4-FFF2-40B4-BE49-F238E27FC236}">
                    <a16:creationId xmlns:a16="http://schemas.microsoft.com/office/drawing/2014/main" id="{F4F6E3B3-685E-4733-9944-ABE9E3CB18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9695417" y="4808365"/>
                <a:ext cx="430362" cy="434758"/>
              </a:xfrm>
              <a:custGeom>
                <a:avLst/>
                <a:gdLst>
                  <a:gd name="T0" fmla="*/ 615 w 888"/>
                  <a:gd name="T1" fmla="*/ 792 h 893"/>
                  <a:gd name="T2" fmla="*/ 615 w 888"/>
                  <a:gd name="T3" fmla="*/ 792 h 893"/>
                  <a:gd name="T4" fmla="*/ 94 w 888"/>
                  <a:gd name="T5" fmla="*/ 615 h 893"/>
                  <a:gd name="T6" fmla="*/ 271 w 888"/>
                  <a:gd name="T7" fmla="*/ 94 h 893"/>
                  <a:gd name="T8" fmla="*/ 793 w 888"/>
                  <a:gd name="T9" fmla="*/ 277 h 893"/>
                  <a:gd name="T10" fmla="*/ 615 w 888"/>
                  <a:gd name="T11" fmla="*/ 792 h 8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88" h="893">
                    <a:moveTo>
                      <a:pt x="615" y="792"/>
                    </a:moveTo>
                    <a:lnTo>
                      <a:pt x="615" y="792"/>
                    </a:lnTo>
                    <a:cubicBezTo>
                      <a:pt x="421" y="892"/>
                      <a:pt x="188" y="809"/>
                      <a:pt x="94" y="615"/>
                    </a:cubicBezTo>
                    <a:cubicBezTo>
                      <a:pt x="0" y="426"/>
                      <a:pt x="78" y="188"/>
                      <a:pt x="271" y="94"/>
                    </a:cubicBezTo>
                    <a:cubicBezTo>
                      <a:pt x="466" y="0"/>
                      <a:pt x="699" y="83"/>
                      <a:pt x="793" y="277"/>
                    </a:cubicBezTo>
                    <a:cubicBezTo>
                      <a:pt x="887" y="465"/>
                      <a:pt x="804" y="698"/>
                      <a:pt x="615" y="792"/>
                    </a:cubicBezTo>
                  </a:path>
                </a:pathLst>
              </a:custGeom>
              <a:solidFill>
                <a:srgbClr val="FEDF5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49" name="Freeform 23">
                <a:extLst>
                  <a:ext uri="{FF2B5EF4-FFF2-40B4-BE49-F238E27FC236}">
                    <a16:creationId xmlns:a16="http://schemas.microsoft.com/office/drawing/2014/main" id="{6B9517DD-1B75-4A5A-87A4-F87AC42C7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800433" y="6157663"/>
                <a:ext cx="282626" cy="409058"/>
              </a:xfrm>
              <a:custGeom>
                <a:avLst/>
                <a:gdLst>
                  <a:gd name="T0" fmla="*/ 393 w 583"/>
                  <a:gd name="T1" fmla="*/ 843 h 844"/>
                  <a:gd name="T2" fmla="*/ 0 w 583"/>
                  <a:gd name="T3" fmla="*/ 44 h 844"/>
                  <a:gd name="T4" fmla="*/ 255 w 583"/>
                  <a:gd name="T5" fmla="*/ 0 h 844"/>
                  <a:gd name="T6" fmla="*/ 582 w 583"/>
                  <a:gd name="T7" fmla="*/ 665 h 844"/>
                  <a:gd name="T8" fmla="*/ 393 w 583"/>
                  <a:gd name="T9" fmla="*/ 843 h 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3" h="844">
                    <a:moveTo>
                      <a:pt x="393" y="843"/>
                    </a:moveTo>
                    <a:lnTo>
                      <a:pt x="0" y="44"/>
                    </a:lnTo>
                    <a:lnTo>
                      <a:pt x="255" y="0"/>
                    </a:lnTo>
                    <a:lnTo>
                      <a:pt x="582" y="665"/>
                    </a:lnTo>
                    <a:lnTo>
                      <a:pt x="393" y="843"/>
                    </a:lnTo>
                  </a:path>
                </a:pathLst>
              </a:custGeom>
              <a:solidFill>
                <a:srgbClr val="81818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0" name="Freeform 24">
                <a:extLst>
                  <a:ext uri="{FF2B5EF4-FFF2-40B4-BE49-F238E27FC236}">
                    <a16:creationId xmlns:a16="http://schemas.microsoft.com/office/drawing/2014/main" id="{C128FD9F-FF70-4540-8AAB-B668897921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553511" y="5423712"/>
                <a:ext cx="177713" cy="197034"/>
              </a:xfrm>
              <a:custGeom>
                <a:avLst/>
                <a:gdLst>
                  <a:gd name="T0" fmla="*/ 155 w 367"/>
                  <a:gd name="T1" fmla="*/ 405 h 406"/>
                  <a:gd name="T2" fmla="*/ 0 w 367"/>
                  <a:gd name="T3" fmla="*/ 83 h 406"/>
                  <a:gd name="T4" fmla="*/ 233 w 367"/>
                  <a:gd name="T5" fmla="*/ 0 h 406"/>
                  <a:gd name="T6" fmla="*/ 366 w 367"/>
                  <a:gd name="T7" fmla="*/ 272 h 406"/>
                  <a:gd name="T8" fmla="*/ 155 w 367"/>
                  <a:gd name="T9" fmla="*/ 405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7" h="406">
                    <a:moveTo>
                      <a:pt x="155" y="405"/>
                    </a:moveTo>
                    <a:lnTo>
                      <a:pt x="0" y="83"/>
                    </a:lnTo>
                    <a:lnTo>
                      <a:pt x="233" y="0"/>
                    </a:lnTo>
                    <a:lnTo>
                      <a:pt x="366" y="272"/>
                    </a:lnTo>
                    <a:lnTo>
                      <a:pt x="155" y="405"/>
                    </a:lnTo>
                  </a:path>
                </a:pathLst>
              </a:custGeom>
              <a:solidFill>
                <a:srgbClr val="81818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1" name="Freeform 25">
                <a:extLst>
                  <a:ext uri="{FF2B5EF4-FFF2-40B4-BE49-F238E27FC236}">
                    <a16:creationId xmlns:a16="http://schemas.microsoft.com/office/drawing/2014/main" id="{E9C2D35B-AEF7-44D7-80A1-AF748BD7E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439196" y="6234296"/>
                <a:ext cx="550262" cy="454032"/>
              </a:xfrm>
              <a:custGeom>
                <a:avLst/>
                <a:gdLst>
                  <a:gd name="T0" fmla="*/ 1131 w 1132"/>
                  <a:gd name="T1" fmla="*/ 688 h 933"/>
                  <a:gd name="T2" fmla="*/ 1131 w 1132"/>
                  <a:gd name="T3" fmla="*/ 688 h 933"/>
                  <a:gd name="T4" fmla="*/ 965 w 1132"/>
                  <a:gd name="T5" fmla="*/ 349 h 933"/>
                  <a:gd name="T6" fmla="*/ 798 w 1132"/>
                  <a:gd name="T7" fmla="*/ 11 h 933"/>
                  <a:gd name="T8" fmla="*/ 394 w 1132"/>
                  <a:gd name="T9" fmla="*/ 133 h 933"/>
                  <a:gd name="T10" fmla="*/ 549 w 1132"/>
                  <a:gd name="T11" fmla="*/ 227 h 933"/>
                  <a:gd name="T12" fmla="*/ 0 w 1132"/>
                  <a:gd name="T13" fmla="*/ 821 h 933"/>
                  <a:gd name="T14" fmla="*/ 804 w 1132"/>
                  <a:gd name="T15" fmla="*/ 749 h 933"/>
                  <a:gd name="T16" fmla="*/ 787 w 1132"/>
                  <a:gd name="T17" fmla="*/ 932 h 933"/>
                  <a:gd name="T18" fmla="*/ 1131 w 1132"/>
                  <a:gd name="T19" fmla="*/ 688 h 9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32" h="933">
                    <a:moveTo>
                      <a:pt x="1131" y="688"/>
                    </a:moveTo>
                    <a:lnTo>
                      <a:pt x="1131" y="688"/>
                    </a:lnTo>
                    <a:cubicBezTo>
                      <a:pt x="965" y="349"/>
                      <a:pt x="965" y="349"/>
                      <a:pt x="965" y="349"/>
                    </a:cubicBezTo>
                    <a:cubicBezTo>
                      <a:pt x="798" y="11"/>
                      <a:pt x="798" y="11"/>
                      <a:pt x="798" y="11"/>
                    </a:cubicBezTo>
                    <a:cubicBezTo>
                      <a:pt x="798" y="11"/>
                      <a:pt x="576" y="0"/>
                      <a:pt x="394" y="133"/>
                    </a:cubicBezTo>
                    <a:cubicBezTo>
                      <a:pt x="394" y="133"/>
                      <a:pt x="543" y="161"/>
                      <a:pt x="549" y="227"/>
                    </a:cubicBezTo>
                    <a:cubicBezTo>
                      <a:pt x="549" y="227"/>
                      <a:pt x="127" y="482"/>
                      <a:pt x="0" y="821"/>
                    </a:cubicBezTo>
                    <a:cubicBezTo>
                      <a:pt x="344" y="932"/>
                      <a:pt x="804" y="749"/>
                      <a:pt x="804" y="749"/>
                    </a:cubicBezTo>
                    <a:cubicBezTo>
                      <a:pt x="854" y="798"/>
                      <a:pt x="787" y="932"/>
                      <a:pt x="787" y="932"/>
                    </a:cubicBezTo>
                    <a:cubicBezTo>
                      <a:pt x="1004" y="870"/>
                      <a:pt x="1131" y="688"/>
                      <a:pt x="1131" y="688"/>
                    </a:cubicBezTo>
                  </a:path>
                </a:pathLst>
              </a:custGeom>
              <a:solidFill>
                <a:srgbClr val="F6932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2" name="Freeform 26">
                <a:extLst>
                  <a:ext uri="{FF2B5EF4-FFF2-40B4-BE49-F238E27FC236}">
                    <a16:creationId xmlns:a16="http://schemas.microsoft.com/office/drawing/2014/main" id="{21E43A14-0F3E-4AC5-8EBF-C2437C99CF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553048" y="6243155"/>
                <a:ext cx="408951" cy="372649"/>
              </a:xfrm>
              <a:custGeom>
                <a:avLst/>
                <a:gdLst>
                  <a:gd name="T0" fmla="*/ 843 w 844"/>
                  <a:gd name="T1" fmla="*/ 566 h 766"/>
                  <a:gd name="T2" fmla="*/ 843 w 844"/>
                  <a:gd name="T3" fmla="*/ 566 h 766"/>
                  <a:gd name="T4" fmla="*/ 721 w 844"/>
                  <a:gd name="T5" fmla="*/ 316 h 766"/>
                  <a:gd name="T6" fmla="*/ 599 w 844"/>
                  <a:gd name="T7" fmla="*/ 61 h 766"/>
                  <a:gd name="T8" fmla="*/ 316 w 844"/>
                  <a:gd name="T9" fmla="*/ 100 h 766"/>
                  <a:gd name="T10" fmla="*/ 410 w 844"/>
                  <a:gd name="T11" fmla="*/ 228 h 766"/>
                  <a:gd name="T12" fmla="*/ 0 w 844"/>
                  <a:gd name="T13" fmla="*/ 666 h 766"/>
                  <a:gd name="T14" fmla="*/ 604 w 844"/>
                  <a:gd name="T15" fmla="*/ 616 h 766"/>
                  <a:gd name="T16" fmla="*/ 643 w 844"/>
                  <a:gd name="T17" fmla="*/ 765 h 766"/>
                  <a:gd name="T18" fmla="*/ 843 w 844"/>
                  <a:gd name="T19" fmla="*/ 566 h 7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4" h="766">
                    <a:moveTo>
                      <a:pt x="843" y="566"/>
                    </a:moveTo>
                    <a:lnTo>
                      <a:pt x="843" y="566"/>
                    </a:lnTo>
                    <a:cubicBezTo>
                      <a:pt x="721" y="316"/>
                      <a:pt x="721" y="316"/>
                      <a:pt x="721" y="316"/>
                    </a:cubicBezTo>
                    <a:cubicBezTo>
                      <a:pt x="599" y="61"/>
                      <a:pt x="599" y="61"/>
                      <a:pt x="599" y="61"/>
                    </a:cubicBezTo>
                    <a:cubicBezTo>
                      <a:pt x="599" y="61"/>
                      <a:pt x="449" y="0"/>
                      <a:pt x="316" y="100"/>
                    </a:cubicBezTo>
                    <a:cubicBezTo>
                      <a:pt x="316" y="100"/>
                      <a:pt x="405" y="178"/>
                      <a:pt x="410" y="228"/>
                    </a:cubicBezTo>
                    <a:cubicBezTo>
                      <a:pt x="410" y="228"/>
                      <a:pt x="94" y="416"/>
                      <a:pt x="0" y="666"/>
                    </a:cubicBezTo>
                    <a:cubicBezTo>
                      <a:pt x="260" y="749"/>
                      <a:pt x="604" y="616"/>
                      <a:pt x="604" y="616"/>
                    </a:cubicBezTo>
                    <a:cubicBezTo>
                      <a:pt x="637" y="649"/>
                      <a:pt x="643" y="765"/>
                      <a:pt x="643" y="765"/>
                    </a:cubicBezTo>
                    <a:cubicBezTo>
                      <a:pt x="809" y="721"/>
                      <a:pt x="843" y="566"/>
                      <a:pt x="843" y="566"/>
                    </a:cubicBezTo>
                  </a:path>
                </a:pathLst>
              </a:custGeom>
              <a:solidFill>
                <a:srgbClr val="FAED2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3" name="Freeform 27">
                <a:extLst>
                  <a:ext uri="{FF2B5EF4-FFF2-40B4-BE49-F238E27FC236}">
                    <a16:creationId xmlns:a16="http://schemas.microsoft.com/office/drawing/2014/main" id="{4D6A189B-7F3E-4CBD-B7BC-3FBB6AA050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683827" y="6293408"/>
                <a:ext cx="256932" cy="235583"/>
              </a:xfrm>
              <a:custGeom>
                <a:avLst/>
                <a:gdLst>
                  <a:gd name="T0" fmla="*/ 526 w 527"/>
                  <a:gd name="T1" fmla="*/ 355 h 483"/>
                  <a:gd name="T2" fmla="*/ 526 w 527"/>
                  <a:gd name="T3" fmla="*/ 355 h 483"/>
                  <a:gd name="T4" fmla="*/ 449 w 527"/>
                  <a:gd name="T5" fmla="*/ 199 h 483"/>
                  <a:gd name="T6" fmla="*/ 371 w 527"/>
                  <a:gd name="T7" fmla="*/ 39 h 483"/>
                  <a:gd name="T8" fmla="*/ 194 w 527"/>
                  <a:gd name="T9" fmla="*/ 61 h 483"/>
                  <a:gd name="T10" fmla="*/ 255 w 527"/>
                  <a:gd name="T11" fmla="*/ 144 h 483"/>
                  <a:gd name="T12" fmla="*/ 0 w 527"/>
                  <a:gd name="T13" fmla="*/ 421 h 483"/>
                  <a:gd name="T14" fmla="*/ 377 w 527"/>
                  <a:gd name="T15" fmla="*/ 388 h 483"/>
                  <a:gd name="T16" fmla="*/ 404 w 527"/>
                  <a:gd name="T17" fmla="*/ 482 h 483"/>
                  <a:gd name="T18" fmla="*/ 526 w 527"/>
                  <a:gd name="T19" fmla="*/ 355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7" h="483">
                    <a:moveTo>
                      <a:pt x="526" y="355"/>
                    </a:moveTo>
                    <a:lnTo>
                      <a:pt x="526" y="355"/>
                    </a:lnTo>
                    <a:cubicBezTo>
                      <a:pt x="449" y="199"/>
                      <a:pt x="449" y="199"/>
                      <a:pt x="449" y="199"/>
                    </a:cubicBezTo>
                    <a:cubicBezTo>
                      <a:pt x="371" y="39"/>
                      <a:pt x="371" y="39"/>
                      <a:pt x="371" y="39"/>
                    </a:cubicBezTo>
                    <a:cubicBezTo>
                      <a:pt x="371" y="39"/>
                      <a:pt x="282" y="0"/>
                      <a:pt x="194" y="61"/>
                    </a:cubicBezTo>
                    <a:cubicBezTo>
                      <a:pt x="194" y="61"/>
                      <a:pt x="249" y="111"/>
                      <a:pt x="255" y="144"/>
                    </a:cubicBezTo>
                    <a:cubicBezTo>
                      <a:pt x="255" y="144"/>
                      <a:pt x="55" y="260"/>
                      <a:pt x="0" y="421"/>
                    </a:cubicBezTo>
                    <a:cubicBezTo>
                      <a:pt x="160" y="471"/>
                      <a:pt x="377" y="388"/>
                      <a:pt x="377" y="388"/>
                    </a:cubicBezTo>
                    <a:cubicBezTo>
                      <a:pt x="399" y="410"/>
                      <a:pt x="404" y="482"/>
                      <a:pt x="404" y="482"/>
                    </a:cubicBezTo>
                    <a:cubicBezTo>
                      <a:pt x="504" y="454"/>
                      <a:pt x="526" y="355"/>
                      <a:pt x="526" y="355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4" name="Freeform 28">
                <a:extLst>
                  <a:ext uri="{FF2B5EF4-FFF2-40B4-BE49-F238E27FC236}">
                    <a16:creationId xmlns:a16="http://schemas.microsoft.com/office/drawing/2014/main" id="{6D0F5F61-D150-45E6-BA31-D032D67497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392138" y="5486773"/>
                <a:ext cx="241944" cy="203457"/>
              </a:xfrm>
              <a:custGeom>
                <a:avLst/>
                <a:gdLst>
                  <a:gd name="T0" fmla="*/ 499 w 500"/>
                  <a:gd name="T1" fmla="*/ 305 h 417"/>
                  <a:gd name="T2" fmla="*/ 499 w 500"/>
                  <a:gd name="T3" fmla="*/ 305 h 417"/>
                  <a:gd name="T4" fmla="*/ 426 w 500"/>
                  <a:gd name="T5" fmla="*/ 155 h 417"/>
                  <a:gd name="T6" fmla="*/ 354 w 500"/>
                  <a:gd name="T7" fmla="*/ 5 h 417"/>
                  <a:gd name="T8" fmla="*/ 172 w 500"/>
                  <a:gd name="T9" fmla="*/ 61 h 417"/>
                  <a:gd name="T10" fmla="*/ 244 w 500"/>
                  <a:gd name="T11" fmla="*/ 105 h 417"/>
                  <a:gd name="T12" fmla="*/ 0 w 500"/>
                  <a:gd name="T13" fmla="*/ 366 h 417"/>
                  <a:gd name="T14" fmla="*/ 354 w 500"/>
                  <a:gd name="T15" fmla="*/ 332 h 417"/>
                  <a:gd name="T16" fmla="*/ 349 w 500"/>
                  <a:gd name="T17" fmla="*/ 416 h 417"/>
                  <a:gd name="T18" fmla="*/ 499 w 500"/>
                  <a:gd name="T19" fmla="*/ 305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0" h="417">
                    <a:moveTo>
                      <a:pt x="499" y="305"/>
                    </a:moveTo>
                    <a:lnTo>
                      <a:pt x="499" y="305"/>
                    </a:lnTo>
                    <a:cubicBezTo>
                      <a:pt x="426" y="155"/>
                      <a:pt x="426" y="155"/>
                      <a:pt x="426" y="155"/>
                    </a:cubicBezTo>
                    <a:cubicBezTo>
                      <a:pt x="354" y="5"/>
                      <a:pt x="354" y="5"/>
                      <a:pt x="354" y="5"/>
                    </a:cubicBezTo>
                    <a:cubicBezTo>
                      <a:pt x="354" y="5"/>
                      <a:pt x="255" y="0"/>
                      <a:pt x="172" y="61"/>
                    </a:cubicBezTo>
                    <a:cubicBezTo>
                      <a:pt x="172" y="61"/>
                      <a:pt x="238" y="72"/>
                      <a:pt x="244" y="105"/>
                    </a:cubicBezTo>
                    <a:cubicBezTo>
                      <a:pt x="244" y="105"/>
                      <a:pt x="49" y="216"/>
                      <a:pt x="0" y="366"/>
                    </a:cubicBezTo>
                    <a:cubicBezTo>
                      <a:pt x="149" y="416"/>
                      <a:pt x="354" y="332"/>
                      <a:pt x="354" y="332"/>
                    </a:cubicBezTo>
                    <a:cubicBezTo>
                      <a:pt x="377" y="355"/>
                      <a:pt x="349" y="416"/>
                      <a:pt x="349" y="416"/>
                    </a:cubicBezTo>
                    <a:cubicBezTo>
                      <a:pt x="443" y="388"/>
                      <a:pt x="499" y="305"/>
                      <a:pt x="499" y="305"/>
                    </a:cubicBezTo>
                  </a:path>
                </a:pathLst>
              </a:custGeom>
              <a:solidFill>
                <a:srgbClr val="F6932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5" name="Freeform 29">
                <a:extLst>
                  <a:ext uri="{FF2B5EF4-FFF2-40B4-BE49-F238E27FC236}">
                    <a16:creationId xmlns:a16="http://schemas.microsoft.com/office/drawing/2014/main" id="{A24AA805-5928-4560-BFDB-2B14B247C6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439603" y="5490555"/>
                <a:ext cx="184135" cy="167050"/>
              </a:xfrm>
              <a:custGeom>
                <a:avLst/>
                <a:gdLst>
                  <a:gd name="T0" fmla="*/ 377 w 378"/>
                  <a:gd name="T1" fmla="*/ 255 h 345"/>
                  <a:gd name="T2" fmla="*/ 377 w 378"/>
                  <a:gd name="T3" fmla="*/ 255 h 345"/>
                  <a:gd name="T4" fmla="*/ 321 w 378"/>
                  <a:gd name="T5" fmla="*/ 139 h 345"/>
                  <a:gd name="T6" fmla="*/ 266 w 378"/>
                  <a:gd name="T7" fmla="*/ 28 h 345"/>
                  <a:gd name="T8" fmla="*/ 144 w 378"/>
                  <a:gd name="T9" fmla="*/ 45 h 345"/>
                  <a:gd name="T10" fmla="*/ 183 w 378"/>
                  <a:gd name="T11" fmla="*/ 100 h 345"/>
                  <a:gd name="T12" fmla="*/ 0 w 378"/>
                  <a:gd name="T13" fmla="*/ 300 h 345"/>
                  <a:gd name="T14" fmla="*/ 266 w 378"/>
                  <a:gd name="T15" fmla="*/ 272 h 345"/>
                  <a:gd name="T16" fmla="*/ 288 w 378"/>
                  <a:gd name="T17" fmla="*/ 344 h 345"/>
                  <a:gd name="T18" fmla="*/ 377 w 378"/>
                  <a:gd name="T19" fmla="*/ 25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8" h="345">
                    <a:moveTo>
                      <a:pt x="377" y="255"/>
                    </a:moveTo>
                    <a:lnTo>
                      <a:pt x="377" y="255"/>
                    </a:lnTo>
                    <a:cubicBezTo>
                      <a:pt x="321" y="139"/>
                      <a:pt x="321" y="139"/>
                      <a:pt x="321" y="139"/>
                    </a:cubicBezTo>
                    <a:cubicBezTo>
                      <a:pt x="266" y="28"/>
                      <a:pt x="266" y="28"/>
                      <a:pt x="266" y="28"/>
                    </a:cubicBezTo>
                    <a:cubicBezTo>
                      <a:pt x="266" y="28"/>
                      <a:pt x="200" y="0"/>
                      <a:pt x="144" y="45"/>
                    </a:cubicBezTo>
                    <a:cubicBezTo>
                      <a:pt x="144" y="45"/>
                      <a:pt x="183" y="78"/>
                      <a:pt x="183" y="100"/>
                    </a:cubicBezTo>
                    <a:cubicBezTo>
                      <a:pt x="183" y="100"/>
                      <a:pt x="44" y="183"/>
                      <a:pt x="0" y="300"/>
                    </a:cubicBezTo>
                    <a:cubicBezTo>
                      <a:pt x="116" y="333"/>
                      <a:pt x="266" y="272"/>
                      <a:pt x="266" y="272"/>
                    </a:cubicBezTo>
                    <a:cubicBezTo>
                      <a:pt x="283" y="289"/>
                      <a:pt x="288" y="344"/>
                      <a:pt x="288" y="344"/>
                    </a:cubicBezTo>
                    <a:cubicBezTo>
                      <a:pt x="360" y="322"/>
                      <a:pt x="377" y="255"/>
                      <a:pt x="377" y="255"/>
                    </a:cubicBezTo>
                  </a:path>
                </a:pathLst>
              </a:custGeom>
              <a:solidFill>
                <a:srgbClr val="FAED2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  <p:sp>
            <p:nvSpPr>
              <p:cNvPr id="56" name="Freeform 30">
                <a:extLst>
                  <a:ext uri="{FF2B5EF4-FFF2-40B4-BE49-F238E27FC236}">
                    <a16:creationId xmlns:a16="http://schemas.microsoft.com/office/drawing/2014/main" id="{2D60815C-9381-4D82-AF92-2A27E5595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33775">
                <a:off x="17498603" y="5512975"/>
                <a:ext cx="113479" cy="104942"/>
              </a:xfrm>
              <a:custGeom>
                <a:avLst/>
                <a:gdLst>
                  <a:gd name="T0" fmla="*/ 233 w 234"/>
                  <a:gd name="T1" fmla="*/ 161 h 218"/>
                  <a:gd name="T2" fmla="*/ 233 w 234"/>
                  <a:gd name="T3" fmla="*/ 161 h 218"/>
                  <a:gd name="T4" fmla="*/ 199 w 234"/>
                  <a:gd name="T5" fmla="*/ 89 h 218"/>
                  <a:gd name="T6" fmla="*/ 166 w 234"/>
                  <a:gd name="T7" fmla="*/ 23 h 218"/>
                  <a:gd name="T8" fmla="*/ 89 w 234"/>
                  <a:gd name="T9" fmla="*/ 28 h 218"/>
                  <a:gd name="T10" fmla="*/ 111 w 234"/>
                  <a:gd name="T11" fmla="*/ 67 h 218"/>
                  <a:gd name="T12" fmla="*/ 0 w 234"/>
                  <a:gd name="T13" fmla="*/ 189 h 218"/>
                  <a:gd name="T14" fmla="*/ 166 w 234"/>
                  <a:gd name="T15" fmla="*/ 172 h 218"/>
                  <a:gd name="T16" fmla="*/ 177 w 234"/>
                  <a:gd name="T17" fmla="*/ 217 h 218"/>
                  <a:gd name="T18" fmla="*/ 233 w 234"/>
                  <a:gd name="T19" fmla="*/ 161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4" h="218">
                    <a:moveTo>
                      <a:pt x="233" y="161"/>
                    </a:moveTo>
                    <a:lnTo>
                      <a:pt x="233" y="161"/>
                    </a:lnTo>
                    <a:cubicBezTo>
                      <a:pt x="199" y="89"/>
                      <a:pt x="199" y="89"/>
                      <a:pt x="199" y="89"/>
                    </a:cubicBezTo>
                    <a:cubicBezTo>
                      <a:pt x="166" y="23"/>
                      <a:pt x="166" y="23"/>
                      <a:pt x="166" y="23"/>
                    </a:cubicBezTo>
                    <a:cubicBezTo>
                      <a:pt x="166" y="23"/>
                      <a:pt x="122" y="0"/>
                      <a:pt x="89" y="28"/>
                    </a:cubicBezTo>
                    <a:cubicBezTo>
                      <a:pt x="89" y="28"/>
                      <a:pt x="111" y="50"/>
                      <a:pt x="111" y="67"/>
                    </a:cubicBezTo>
                    <a:cubicBezTo>
                      <a:pt x="111" y="67"/>
                      <a:pt x="22" y="117"/>
                      <a:pt x="0" y="189"/>
                    </a:cubicBezTo>
                    <a:cubicBezTo>
                      <a:pt x="72" y="211"/>
                      <a:pt x="166" y="172"/>
                      <a:pt x="166" y="172"/>
                    </a:cubicBezTo>
                    <a:cubicBezTo>
                      <a:pt x="177" y="183"/>
                      <a:pt x="177" y="217"/>
                      <a:pt x="177" y="217"/>
                    </a:cubicBezTo>
                    <a:cubicBezTo>
                      <a:pt x="222" y="205"/>
                      <a:pt x="233" y="161"/>
                      <a:pt x="233" y="161"/>
                    </a:cubicBezTo>
                  </a:path>
                </a:pathLst>
              </a:custGeom>
              <a:solidFill>
                <a:srgbClr val="F2F2F2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FFFFFF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71986" tIns="35993" rIns="71986" bIns="35993" anchor="ctr"/>
              <a:lstStyle/>
              <a:p>
                <a:endParaRPr lang="en-US" sz="1087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916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>
            <a:extLst>
              <a:ext uri="{FF2B5EF4-FFF2-40B4-BE49-F238E27FC236}">
                <a16:creationId xmlns:a16="http://schemas.microsoft.com/office/drawing/2014/main" id="{78C2CD86-03D9-4B36-B9CA-D1018B0313D5}"/>
              </a:ext>
            </a:extLst>
          </p:cNvPr>
          <p:cNvSpPr txBox="1"/>
          <p:nvPr/>
        </p:nvSpPr>
        <p:spPr bwMode="gray">
          <a:xfrm>
            <a:off x="10124769" y="5992403"/>
            <a:ext cx="2182761" cy="403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200" dirty="0">
                <a:solidFill>
                  <a:schemeClr val="bg1"/>
                </a:solidFill>
              </a:rPr>
              <a:t>Copyright: </a:t>
            </a:r>
            <a:r>
              <a:rPr lang="hu-HU" sz="1200" dirty="0" err="1">
                <a:solidFill>
                  <a:schemeClr val="bg1"/>
                </a:solidFill>
              </a:rPr>
              <a:t>Paramount</a:t>
            </a:r>
            <a:r>
              <a:rPr lang="hu-HU" sz="1200" dirty="0">
                <a:solidFill>
                  <a:schemeClr val="bg1"/>
                </a:solidFill>
              </a:rPr>
              <a:t> </a:t>
            </a:r>
          </a:p>
          <a:p>
            <a:r>
              <a:rPr lang="hu-HU" sz="1200" dirty="0">
                <a:solidFill>
                  <a:schemeClr val="bg1"/>
                </a:solidFill>
              </a:rPr>
              <a:t>                    </a:t>
            </a:r>
            <a:r>
              <a:rPr lang="hu-HU" sz="1200" dirty="0" err="1">
                <a:solidFill>
                  <a:schemeClr val="bg1"/>
                </a:solidFill>
              </a:rPr>
              <a:t>Pictures</a:t>
            </a:r>
            <a:endParaRPr lang="hu-H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93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202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12</a:t>
            </a:fld>
            <a:endParaRPr lang="hu-HU"/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5637496" y="2629806"/>
            <a:ext cx="4719577" cy="1513540"/>
          </a:xfrm>
          <a:prstGeom prst="rect">
            <a:avLst/>
          </a:prstGeom>
        </p:spPr>
        <p:txBody>
          <a:bodyPr/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/>
            <a:r>
              <a:rPr lang="hu-HU" dirty="0"/>
              <a:t>Köszönöm a figyelmet!</a:t>
            </a:r>
            <a:endParaRPr lang="en-US" dirty="0"/>
          </a:p>
        </p:txBody>
      </p:sp>
      <p:pic>
        <p:nvPicPr>
          <p:cNvPr id="9" name="Kép 3">
            <a:extLst>
              <a:ext uri="{FF2B5EF4-FFF2-40B4-BE49-F238E27FC236}">
                <a16:creationId xmlns:a16="http://schemas.microsoft.com/office/drawing/2014/main" id="{B9885042-E625-426E-BBE8-B5A46A764C9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2881" y="1799344"/>
            <a:ext cx="2462918" cy="2462918"/>
          </a:xfrm>
          <a:prstGeom prst="roundRect">
            <a:avLst>
              <a:gd name="adj" fmla="val 8594"/>
            </a:avLst>
          </a:prstGeom>
          <a:noFill/>
          <a:ln>
            <a:noFill/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4960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doboz 2">
            <a:extLst>
              <a:ext uri="{FF2B5EF4-FFF2-40B4-BE49-F238E27FC236}">
                <a16:creationId xmlns:a16="http://schemas.microsoft.com/office/drawing/2014/main" id="{78C2CD86-03D9-4B36-B9CA-D1018B0313D5}"/>
              </a:ext>
            </a:extLst>
          </p:cNvPr>
          <p:cNvSpPr txBox="1"/>
          <p:nvPr/>
        </p:nvSpPr>
        <p:spPr bwMode="gray">
          <a:xfrm>
            <a:off x="10257504" y="6194323"/>
            <a:ext cx="2182761" cy="403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200" dirty="0">
                <a:solidFill>
                  <a:schemeClr val="bg1"/>
                </a:solidFill>
              </a:rPr>
              <a:t>Copyright: CBS</a:t>
            </a:r>
          </a:p>
        </p:txBody>
      </p:sp>
    </p:spTree>
    <p:extLst>
      <p:ext uri="{BB962C8B-B14F-4D97-AF65-F5344CB8AC3E}">
        <p14:creationId xmlns:p14="http://schemas.microsoft.com/office/powerpoint/2010/main" val="172020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>
            <a:extLst>
              <a:ext uri="{FF2B5EF4-FFF2-40B4-BE49-F238E27FC236}">
                <a16:creationId xmlns:a16="http://schemas.microsoft.com/office/drawing/2014/main" id="{BC5F90B8-777C-475B-A481-88871604BD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564C8972-21D2-4F3F-868B-13BEC3AF930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022618" cy="4762887"/>
          </a:xfrm>
          <a:prstGeom prst="rect">
            <a:avLst/>
          </a:prstGeom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C5EFF5D9-0C5B-4696-AD80-0B06FD9BFE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8182" y="1500380"/>
            <a:ext cx="6263893" cy="4979795"/>
          </a:xfrm>
          <a:prstGeom prst="rect">
            <a:avLst/>
          </a:prstGeom>
        </p:spPr>
      </p:pic>
      <p:sp>
        <p:nvSpPr>
          <p:cNvPr id="9" name="Szövegdoboz 8">
            <a:extLst>
              <a:ext uri="{FF2B5EF4-FFF2-40B4-BE49-F238E27FC236}">
                <a16:creationId xmlns:a16="http://schemas.microsoft.com/office/drawing/2014/main" id="{18B5C64F-0CC9-4ADA-9770-704D435D5FE8}"/>
              </a:ext>
            </a:extLst>
          </p:cNvPr>
          <p:cNvSpPr txBox="1"/>
          <p:nvPr/>
        </p:nvSpPr>
        <p:spPr bwMode="gray">
          <a:xfrm>
            <a:off x="9924619" y="6036502"/>
            <a:ext cx="2182761" cy="403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200" dirty="0">
                <a:solidFill>
                  <a:schemeClr val="bg1"/>
                </a:solidFill>
              </a:rPr>
              <a:t>Copyright: TYNE &amp; WEAR ARCHIVES &amp; MUSEUMS</a:t>
            </a:r>
          </a:p>
        </p:txBody>
      </p:sp>
    </p:spTree>
    <p:extLst>
      <p:ext uri="{BB962C8B-B14F-4D97-AF65-F5344CB8AC3E}">
        <p14:creationId xmlns:p14="http://schemas.microsoft.com/office/powerpoint/2010/main" val="2685497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B947BDEA-B2D9-4EBC-98E0-FC798BA99C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Penteszt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0DA96B9C-2D03-433B-90A5-B527516A9C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F12E32C-61E3-446D-B7A7-A4BD7B2710F6}"/>
              </a:ext>
            </a:extLst>
          </p:cNvPr>
          <p:cNvSpPr txBox="1">
            <a:spLocks/>
          </p:cNvSpPr>
          <p:nvPr/>
        </p:nvSpPr>
        <p:spPr bwMode="auto">
          <a:xfrm>
            <a:off x="3431421" y="1970375"/>
            <a:ext cx="2073589" cy="39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600" tIns="28800" rIns="57600" bIns="28800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hu-HU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UGS</a:t>
            </a:r>
            <a:endParaRPr lang="en-US" sz="20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hape 3961">
            <a:extLst>
              <a:ext uri="{FF2B5EF4-FFF2-40B4-BE49-F238E27FC236}">
                <a16:creationId xmlns:a16="http://schemas.microsoft.com/office/drawing/2014/main" id="{3CCBEB4C-A4EE-4DFD-BEC8-84F91F509118}"/>
              </a:ext>
            </a:extLst>
          </p:cNvPr>
          <p:cNvSpPr/>
          <p:nvPr/>
        </p:nvSpPr>
        <p:spPr>
          <a:xfrm rot="356386" flipV="1">
            <a:off x="4414637" y="2402106"/>
            <a:ext cx="1546626" cy="7520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1386" y="9302"/>
                  <a:pt x="8586" y="2102"/>
                  <a:pt x="21600" y="0"/>
                </a:cubicBezTo>
              </a:path>
            </a:pathLst>
          </a:custGeom>
          <a:noFill/>
          <a:ln w="6350">
            <a:solidFill>
              <a:schemeClr val="bg1"/>
            </a:solidFill>
            <a:miter lim="400000"/>
            <a:headEnd type="oval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6385" tIns="43193" rIns="86385" bIns="43193"/>
          <a:lstStyle/>
          <a:p>
            <a:pPr lvl="0"/>
            <a:endParaRPr lang="en-US" sz="1087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39DFD7-17C4-4C47-9C4D-A85819D8166F}"/>
              </a:ext>
            </a:extLst>
          </p:cNvPr>
          <p:cNvSpPr txBox="1">
            <a:spLocks/>
          </p:cNvSpPr>
          <p:nvPr/>
        </p:nvSpPr>
        <p:spPr bwMode="auto">
          <a:xfrm>
            <a:off x="4231521" y="5816621"/>
            <a:ext cx="2073589" cy="39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600" tIns="28800" rIns="57600" bIns="28800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hu-HU" sz="20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NTESTER</a:t>
            </a:r>
            <a:endParaRPr lang="en-US" sz="20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hape 3961">
            <a:extLst>
              <a:ext uri="{FF2B5EF4-FFF2-40B4-BE49-F238E27FC236}">
                <a16:creationId xmlns:a16="http://schemas.microsoft.com/office/drawing/2014/main" id="{B9BBEB56-694A-4102-B54F-CCA688D6943E}"/>
              </a:ext>
            </a:extLst>
          </p:cNvPr>
          <p:cNvSpPr/>
          <p:nvPr/>
        </p:nvSpPr>
        <p:spPr>
          <a:xfrm rot="356386">
            <a:off x="5417111" y="4581838"/>
            <a:ext cx="2316627" cy="13582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1386" y="9302"/>
                  <a:pt x="8586" y="2102"/>
                  <a:pt x="21600" y="0"/>
                </a:cubicBezTo>
              </a:path>
            </a:pathLst>
          </a:custGeom>
          <a:noFill/>
          <a:ln w="6350">
            <a:solidFill>
              <a:schemeClr val="bg1"/>
            </a:solidFill>
            <a:miter lim="400000"/>
            <a:headEnd type="oval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6385" tIns="43193" rIns="86385" bIns="43193"/>
          <a:lstStyle/>
          <a:p>
            <a:pPr lvl="0"/>
            <a:endParaRPr lang="en-US" sz="1087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109245FE-08D0-46C1-A7ED-B5113B0A4608}"/>
              </a:ext>
            </a:extLst>
          </p:cNvPr>
          <p:cNvSpPr txBox="1"/>
          <p:nvPr/>
        </p:nvSpPr>
        <p:spPr bwMode="gray">
          <a:xfrm>
            <a:off x="9924619" y="6166673"/>
            <a:ext cx="2182761" cy="403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200" dirty="0">
                <a:solidFill>
                  <a:schemeClr val="bg1"/>
                </a:solidFill>
              </a:rPr>
              <a:t>Copyright: </a:t>
            </a:r>
            <a:r>
              <a:rPr lang="hu-HU" sz="1200" dirty="0" err="1">
                <a:solidFill>
                  <a:schemeClr val="bg1"/>
                </a:solidFill>
              </a:rPr>
              <a:t>Siyabona</a:t>
            </a:r>
            <a:r>
              <a:rPr lang="hu-HU" sz="1200" dirty="0">
                <a:solidFill>
                  <a:schemeClr val="bg1"/>
                </a:solidFill>
              </a:rPr>
              <a:t> </a:t>
            </a:r>
            <a:r>
              <a:rPr lang="hu-HU" sz="1200" dirty="0" err="1">
                <a:solidFill>
                  <a:schemeClr val="bg1"/>
                </a:solidFill>
              </a:rPr>
              <a:t>Africa</a:t>
            </a:r>
            <a:endParaRPr lang="hu-H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316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6C80665C-14D2-4F9E-8CCB-2D5F140E3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Bug </a:t>
            </a:r>
            <a:r>
              <a:rPr lang="hu-HU" dirty="0" err="1"/>
              <a:t>bounty</a:t>
            </a:r>
            <a:endParaRPr lang="hu-HU" dirty="0"/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6DC7E1C5-ECBF-4E24-884D-32439C07BD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5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B375A4F-B5A2-45D9-BC98-7F7D2D52E728}"/>
              </a:ext>
            </a:extLst>
          </p:cNvPr>
          <p:cNvSpPr txBox="1">
            <a:spLocks/>
          </p:cNvSpPr>
          <p:nvPr/>
        </p:nvSpPr>
        <p:spPr bwMode="auto">
          <a:xfrm>
            <a:off x="579452" y="1288308"/>
            <a:ext cx="2073589" cy="39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600" tIns="28800" rIns="57600" bIns="28800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hu-HU" sz="2000" b="1" dirty="0">
                <a:solidFill>
                  <a:srgbClr val="02020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UNTERS</a:t>
            </a:r>
            <a:endParaRPr lang="en-US" sz="2000" b="1" dirty="0">
              <a:solidFill>
                <a:srgbClr val="02020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3961">
            <a:extLst>
              <a:ext uri="{FF2B5EF4-FFF2-40B4-BE49-F238E27FC236}">
                <a16:creationId xmlns:a16="http://schemas.microsoft.com/office/drawing/2014/main" id="{DFCAEF0F-62AF-4B5A-A5CA-1BABF9115490}"/>
              </a:ext>
            </a:extLst>
          </p:cNvPr>
          <p:cNvSpPr/>
          <p:nvPr/>
        </p:nvSpPr>
        <p:spPr>
          <a:xfrm rot="356386" flipV="1">
            <a:off x="1620313" y="1700650"/>
            <a:ext cx="370885" cy="9261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1386" y="9302"/>
                  <a:pt x="8586" y="2102"/>
                  <a:pt x="21600" y="0"/>
                </a:cubicBezTo>
              </a:path>
            </a:pathLst>
          </a:custGeom>
          <a:noFill/>
          <a:ln w="6350">
            <a:solidFill>
              <a:schemeClr val="tx1"/>
            </a:solidFill>
            <a:miter lim="400000"/>
            <a:headEnd type="oval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6385" tIns="43193" rIns="86385" bIns="43193"/>
          <a:lstStyle/>
          <a:p>
            <a:pPr lvl="0"/>
            <a:endParaRPr lang="en-US" sz="1087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D0CE1D0-2243-455C-BAFC-C5CC119BF784}"/>
              </a:ext>
            </a:extLst>
          </p:cNvPr>
          <p:cNvSpPr txBox="1">
            <a:spLocks/>
          </p:cNvSpPr>
          <p:nvPr/>
        </p:nvSpPr>
        <p:spPr bwMode="auto">
          <a:xfrm>
            <a:off x="7647138" y="252000"/>
            <a:ext cx="2073589" cy="39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7600" tIns="28800" rIns="57600" bIns="28800"/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>
              <a:spcBef>
                <a:spcPct val="20000"/>
              </a:spcBef>
              <a:buFont typeface="Arial" charset="0"/>
              <a:buNone/>
            </a:pPr>
            <a:r>
              <a:rPr lang="hu-HU" sz="2000" b="1" dirty="0">
                <a:solidFill>
                  <a:srgbClr val="02020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UG</a:t>
            </a:r>
            <a:endParaRPr lang="en-US" sz="2000" b="1" dirty="0">
              <a:solidFill>
                <a:srgbClr val="02020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hape 3961">
            <a:extLst>
              <a:ext uri="{FF2B5EF4-FFF2-40B4-BE49-F238E27FC236}">
                <a16:creationId xmlns:a16="http://schemas.microsoft.com/office/drawing/2014/main" id="{5E37FB27-4D59-4AD8-9C43-F17EC2D0793D}"/>
              </a:ext>
            </a:extLst>
          </p:cNvPr>
          <p:cNvSpPr/>
          <p:nvPr/>
        </p:nvSpPr>
        <p:spPr>
          <a:xfrm rot="356386" flipH="1" flipV="1">
            <a:off x="7306640" y="576183"/>
            <a:ext cx="1344885" cy="6961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1386" y="9302"/>
                  <a:pt x="8586" y="2102"/>
                  <a:pt x="21600" y="0"/>
                </a:cubicBezTo>
              </a:path>
            </a:pathLst>
          </a:custGeom>
          <a:noFill/>
          <a:ln w="6350">
            <a:solidFill>
              <a:schemeClr val="tx1"/>
            </a:solidFill>
            <a:miter lim="400000"/>
            <a:headEnd type="oval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6385" tIns="43193" rIns="86385" bIns="43193"/>
          <a:lstStyle/>
          <a:p>
            <a:pPr lvl="0"/>
            <a:endParaRPr lang="en-US" sz="1087" dirty="0"/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92EFC829-EDA6-4268-AFFC-74276EBC4BD2}"/>
              </a:ext>
            </a:extLst>
          </p:cNvPr>
          <p:cNvSpPr txBox="1"/>
          <p:nvPr/>
        </p:nvSpPr>
        <p:spPr bwMode="gray">
          <a:xfrm>
            <a:off x="9924619" y="6036502"/>
            <a:ext cx="2182761" cy="40384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200" dirty="0"/>
              <a:t>Copyright: The Walt Disney </a:t>
            </a:r>
          </a:p>
          <a:p>
            <a:r>
              <a:rPr lang="hu-HU" sz="1200" dirty="0"/>
              <a:t>                    </a:t>
            </a:r>
            <a:r>
              <a:rPr lang="hu-HU" sz="1200" dirty="0" err="1"/>
              <a:t>Company</a:t>
            </a:r>
            <a:endParaRPr lang="hu-HU" sz="1200" dirty="0"/>
          </a:p>
        </p:txBody>
      </p:sp>
    </p:spTree>
    <p:extLst>
      <p:ext uri="{BB962C8B-B14F-4D97-AF65-F5344CB8AC3E}">
        <p14:creationId xmlns:p14="http://schemas.microsoft.com/office/powerpoint/2010/main" val="261400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z alapok</a:t>
            </a:r>
            <a:endParaRPr lang="en-US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6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Rectangle 35"/>
          <p:cNvSpPr/>
          <p:nvPr/>
        </p:nvSpPr>
        <p:spPr>
          <a:xfrm>
            <a:off x="2511820" y="2154419"/>
            <a:ext cx="978796" cy="412455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Hatály</a:t>
            </a:r>
            <a:endParaRPr lang="en-US" sz="20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84"/>
          <p:cNvSpPr/>
          <p:nvPr/>
        </p:nvSpPr>
        <p:spPr bwMode="auto">
          <a:xfrm>
            <a:off x="1526396" y="1972696"/>
            <a:ext cx="722722" cy="72291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8" name="Oval 87"/>
          <p:cNvSpPr/>
          <p:nvPr/>
        </p:nvSpPr>
        <p:spPr bwMode="auto">
          <a:xfrm>
            <a:off x="1526396" y="3817242"/>
            <a:ext cx="722722" cy="72291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9" name="Oval 91"/>
          <p:cNvSpPr/>
          <p:nvPr/>
        </p:nvSpPr>
        <p:spPr bwMode="auto">
          <a:xfrm>
            <a:off x="1528486" y="2893405"/>
            <a:ext cx="722722" cy="72291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10" name="Rectangle 99"/>
          <p:cNvSpPr/>
          <p:nvPr/>
        </p:nvSpPr>
        <p:spPr>
          <a:xfrm>
            <a:off x="2507545" y="4000934"/>
            <a:ext cx="1591143" cy="412455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Jutalmazás</a:t>
            </a:r>
            <a:endParaRPr lang="en-US" sz="20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01"/>
          <p:cNvSpPr/>
          <p:nvPr/>
        </p:nvSpPr>
        <p:spPr>
          <a:xfrm>
            <a:off x="2505436" y="3029340"/>
            <a:ext cx="1421225" cy="412455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Kizárások</a:t>
            </a:r>
            <a:endParaRPr lang="en-US" sz="20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Csoportba foglalás 1">
            <a:extLst>
              <a:ext uri="{FF2B5EF4-FFF2-40B4-BE49-F238E27FC236}">
                <a16:creationId xmlns:a16="http://schemas.microsoft.com/office/drawing/2014/main" id="{A1774039-7E3E-45A4-9D50-5B7F5994F0C2}"/>
              </a:ext>
            </a:extLst>
          </p:cNvPr>
          <p:cNvGrpSpPr/>
          <p:nvPr/>
        </p:nvGrpSpPr>
        <p:grpSpPr>
          <a:xfrm>
            <a:off x="6773349" y="1238524"/>
            <a:ext cx="4005043" cy="4072743"/>
            <a:chOff x="6123298" y="1295183"/>
            <a:chExt cx="4005043" cy="4072743"/>
          </a:xfrm>
        </p:grpSpPr>
        <p:sp>
          <p:nvSpPr>
            <p:cNvPr id="17" name="Freeform 22"/>
            <p:cNvSpPr>
              <a:spLocks/>
            </p:cNvSpPr>
            <p:nvPr/>
          </p:nvSpPr>
          <p:spPr bwMode="auto">
            <a:xfrm>
              <a:off x="8099163" y="1295183"/>
              <a:ext cx="874646" cy="684901"/>
            </a:xfrm>
            <a:custGeom>
              <a:avLst/>
              <a:gdLst>
                <a:gd name="T0" fmla="*/ 61 w 518"/>
                <a:gd name="T1" fmla="*/ 371 h 406"/>
                <a:gd name="T2" fmla="*/ 344 w 518"/>
                <a:gd name="T3" fmla="*/ 262 h 406"/>
                <a:gd name="T4" fmla="*/ 518 w 518"/>
                <a:gd name="T5" fmla="*/ 7 h 406"/>
                <a:gd name="T6" fmla="*/ 52 w 518"/>
                <a:gd name="T7" fmla="*/ 170 h 406"/>
                <a:gd name="T8" fmla="*/ 40 w 518"/>
                <a:gd name="T9" fmla="*/ 354 h 406"/>
                <a:gd name="T10" fmla="*/ 410 w 518"/>
                <a:gd name="T11" fmla="*/ 52 h 406"/>
                <a:gd name="T12" fmla="*/ 61 w 518"/>
                <a:gd name="T13" fmla="*/ 37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8" h="406">
                  <a:moveTo>
                    <a:pt x="61" y="371"/>
                  </a:moveTo>
                  <a:cubicBezTo>
                    <a:pt x="183" y="406"/>
                    <a:pt x="299" y="379"/>
                    <a:pt x="344" y="262"/>
                  </a:cubicBezTo>
                  <a:cubicBezTo>
                    <a:pt x="392" y="143"/>
                    <a:pt x="434" y="58"/>
                    <a:pt x="518" y="7"/>
                  </a:cubicBezTo>
                  <a:cubicBezTo>
                    <a:pt x="331" y="0"/>
                    <a:pt x="159" y="28"/>
                    <a:pt x="52" y="170"/>
                  </a:cubicBezTo>
                  <a:cubicBezTo>
                    <a:pt x="0" y="241"/>
                    <a:pt x="6" y="303"/>
                    <a:pt x="40" y="354"/>
                  </a:cubicBezTo>
                  <a:cubicBezTo>
                    <a:pt x="128" y="217"/>
                    <a:pt x="262" y="119"/>
                    <a:pt x="410" y="52"/>
                  </a:cubicBezTo>
                  <a:cubicBezTo>
                    <a:pt x="240" y="142"/>
                    <a:pt x="138" y="244"/>
                    <a:pt x="61" y="37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18" name="Freeform 23"/>
            <p:cNvSpPr>
              <a:spLocks/>
            </p:cNvSpPr>
            <p:nvPr/>
          </p:nvSpPr>
          <p:spPr bwMode="auto">
            <a:xfrm>
              <a:off x="7052921" y="1480156"/>
              <a:ext cx="743032" cy="548254"/>
            </a:xfrm>
            <a:custGeom>
              <a:avLst/>
              <a:gdLst>
                <a:gd name="T0" fmla="*/ 404 w 441"/>
                <a:gd name="T1" fmla="*/ 263 h 325"/>
                <a:gd name="T2" fmla="*/ 164 w 441"/>
                <a:gd name="T3" fmla="*/ 220 h 325"/>
                <a:gd name="T4" fmla="*/ 0 w 441"/>
                <a:gd name="T5" fmla="*/ 29 h 325"/>
                <a:gd name="T6" fmla="*/ 338 w 441"/>
                <a:gd name="T7" fmla="*/ 79 h 325"/>
                <a:gd name="T8" fmla="*/ 415 w 441"/>
                <a:gd name="T9" fmla="*/ 244 h 325"/>
                <a:gd name="T10" fmla="*/ 109 w 441"/>
                <a:gd name="T11" fmla="*/ 53 h 325"/>
                <a:gd name="T12" fmla="*/ 404 w 441"/>
                <a:gd name="T13" fmla="*/ 26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1" h="325">
                  <a:moveTo>
                    <a:pt x="404" y="263"/>
                  </a:moveTo>
                  <a:cubicBezTo>
                    <a:pt x="322" y="325"/>
                    <a:pt x="221" y="320"/>
                    <a:pt x="164" y="220"/>
                  </a:cubicBezTo>
                  <a:cubicBezTo>
                    <a:pt x="123" y="144"/>
                    <a:pt x="82" y="76"/>
                    <a:pt x="0" y="29"/>
                  </a:cubicBezTo>
                  <a:cubicBezTo>
                    <a:pt x="126" y="0"/>
                    <a:pt x="241" y="8"/>
                    <a:pt x="338" y="79"/>
                  </a:cubicBezTo>
                  <a:cubicBezTo>
                    <a:pt x="338" y="79"/>
                    <a:pt x="441" y="140"/>
                    <a:pt x="415" y="244"/>
                  </a:cubicBezTo>
                  <a:cubicBezTo>
                    <a:pt x="334" y="154"/>
                    <a:pt x="226" y="93"/>
                    <a:pt x="109" y="53"/>
                  </a:cubicBezTo>
                  <a:cubicBezTo>
                    <a:pt x="244" y="109"/>
                    <a:pt x="334" y="176"/>
                    <a:pt x="404" y="26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19" name="Freeform 24"/>
            <p:cNvSpPr>
              <a:spLocks/>
            </p:cNvSpPr>
            <p:nvPr/>
          </p:nvSpPr>
          <p:spPr bwMode="auto">
            <a:xfrm>
              <a:off x="6791360" y="1800110"/>
              <a:ext cx="2642263" cy="3567816"/>
            </a:xfrm>
            <a:custGeom>
              <a:avLst/>
              <a:gdLst>
                <a:gd name="T0" fmla="*/ 1317 w 1567"/>
                <a:gd name="T1" fmla="*/ 1087 h 2116"/>
                <a:gd name="T2" fmla="*/ 1512 w 1567"/>
                <a:gd name="T3" fmla="*/ 862 h 2116"/>
                <a:gd name="T4" fmla="*/ 1211 w 1567"/>
                <a:gd name="T5" fmla="*/ 1050 h 2116"/>
                <a:gd name="T6" fmla="*/ 1029 w 1567"/>
                <a:gd name="T7" fmla="*/ 1123 h 2116"/>
                <a:gd name="T8" fmla="*/ 1064 w 1567"/>
                <a:gd name="T9" fmla="*/ 1044 h 2116"/>
                <a:gd name="T10" fmla="*/ 1111 w 1567"/>
                <a:gd name="T11" fmla="*/ 909 h 2116"/>
                <a:gd name="T12" fmla="*/ 1567 w 1567"/>
                <a:gd name="T13" fmla="*/ 524 h 2116"/>
                <a:gd name="T14" fmla="*/ 1131 w 1567"/>
                <a:gd name="T15" fmla="*/ 761 h 2116"/>
                <a:gd name="T16" fmla="*/ 1114 w 1567"/>
                <a:gd name="T17" fmla="*/ 579 h 2116"/>
                <a:gd name="T18" fmla="*/ 1284 w 1567"/>
                <a:gd name="T19" fmla="*/ 266 h 2116"/>
                <a:gd name="T20" fmla="*/ 1087 w 1567"/>
                <a:gd name="T21" fmla="*/ 490 h 2116"/>
                <a:gd name="T22" fmla="*/ 987 w 1567"/>
                <a:gd name="T23" fmla="*/ 310 h 2116"/>
                <a:gd name="T24" fmla="*/ 1017 w 1567"/>
                <a:gd name="T25" fmla="*/ 937 h 2116"/>
                <a:gd name="T26" fmla="*/ 795 w 1567"/>
                <a:gd name="T27" fmla="*/ 509 h 2116"/>
                <a:gd name="T28" fmla="*/ 899 w 1567"/>
                <a:gd name="T29" fmla="*/ 1168 h 2116"/>
                <a:gd name="T30" fmla="*/ 820 w 1567"/>
                <a:gd name="T31" fmla="*/ 1358 h 2116"/>
                <a:gd name="T32" fmla="*/ 644 w 1567"/>
                <a:gd name="T33" fmla="*/ 942 h 2116"/>
                <a:gd name="T34" fmla="*/ 873 w 1567"/>
                <a:gd name="T35" fmla="*/ 0 h 2116"/>
                <a:gd name="T36" fmla="*/ 680 w 1567"/>
                <a:gd name="T37" fmla="*/ 282 h 2116"/>
                <a:gd name="T38" fmla="*/ 520 w 1567"/>
                <a:gd name="T39" fmla="*/ 22 h 2116"/>
                <a:gd name="T40" fmla="*/ 629 w 1567"/>
                <a:gd name="T41" fmla="*/ 396 h 2116"/>
                <a:gd name="T42" fmla="*/ 549 w 1567"/>
                <a:gd name="T43" fmla="*/ 886 h 2116"/>
                <a:gd name="T44" fmla="*/ 589 w 1567"/>
                <a:gd name="T45" fmla="*/ 1130 h 2116"/>
                <a:gd name="T46" fmla="*/ 407 w 1567"/>
                <a:gd name="T47" fmla="*/ 295 h 2116"/>
                <a:gd name="T48" fmla="*/ 382 w 1567"/>
                <a:gd name="T49" fmla="*/ 671 h 2116"/>
                <a:gd name="T50" fmla="*/ 0 w 1567"/>
                <a:gd name="T51" fmla="*/ 548 h 2116"/>
                <a:gd name="T52" fmla="*/ 389 w 1567"/>
                <a:gd name="T53" fmla="*/ 754 h 2116"/>
                <a:gd name="T54" fmla="*/ 479 w 1567"/>
                <a:gd name="T55" fmla="*/ 1122 h 2116"/>
                <a:gd name="T56" fmla="*/ 290 w 1567"/>
                <a:gd name="T57" fmla="*/ 1097 h 2116"/>
                <a:gd name="T58" fmla="*/ 72 w 1567"/>
                <a:gd name="T59" fmla="*/ 825 h 2116"/>
                <a:gd name="T60" fmla="*/ 226 w 1567"/>
                <a:gd name="T61" fmla="*/ 1109 h 2116"/>
                <a:gd name="T62" fmla="*/ 18 w 1567"/>
                <a:gd name="T63" fmla="*/ 1208 h 2116"/>
                <a:gd name="T64" fmla="*/ 538 w 1567"/>
                <a:gd name="T65" fmla="*/ 1241 h 2116"/>
                <a:gd name="T66" fmla="*/ 608 w 1567"/>
                <a:gd name="T67" fmla="*/ 1347 h 2116"/>
                <a:gd name="T68" fmla="*/ 890 w 1567"/>
                <a:gd name="T69" fmla="*/ 2115 h 2116"/>
                <a:gd name="T70" fmla="*/ 1166 w 1567"/>
                <a:gd name="T71" fmla="*/ 2116 h 2116"/>
                <a:gd name="T72" fmla="*/ 983 w 1567"/>
                <a:gd name="T73" fmla="*/ 1539 h 2116"/>
                <a:gd name="T74" fmla="*/ 961 w 1567"/>
                <a:gd name="T75" fmla="*/ 1354 h 2116"/>
                <a:gd name="T76" fmla="*/ 1231 w 1567"/>
                <a:gd name="T77" fmla="*/ 1112 h 2116"/>
                <a:gd name="T78" fmla="*/ 1233 w 1567"/>
                <a:gd name="T79" fmla="*/ 1112 h 2116"/>
                <a:gd name="T80" fmla="*/ 1534 w 1567"/>
                <a:gd name="T81" fmla="*/ 1290 h 2116"/>
                <a:gd name="T82" fmla="*/ 1317 w 1567"/>
                <a:gd name="T83" fmla="*/ 1087 h 2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7" h="2116">
                  <a:moveTo>
                    <a:pt x="1317" y="1087"/>
                  </a:moveTo>
                  <a:cubicBezTo>
                    <a:pt x="1416" y="1050"/>
                    <a:pt x="1504" y="971"/>
                    <a:pt x="1512" y="862"/>
                  </a:cubicBezTo>
                  <a:cubicBezTo>
                    <a:pt x="1478" y="1038"/>
                    <a:pt x="1315" y="1034"/>
                    <a:pt x="1211" y="1050"/>
                  </a:cubicBezTo>
                  <a:cubicBezTo>
                    <a:pt x="1127" y="1062"/>
                    <a:pt x="1077" y="1082"/>
                    <a:pt x="1029" y="1123"/>
                  </a:cubicBezTo>
                  <a:cubicBezTo>
                    <a:pt x="1039" y="1099"/>
                    <a:pt x="1051" y="1072"/>
                    <a:pt x="1064" y="1044"/>
                  </a:cubicBezTo>
                  <a:cubicBezTo>
                    <a:pt x="1084" y="1001"/>
                    <a:pt x="1100" y="955"/>
                    <a:pt x="1111" y="909"/>
                  </a:cubicBezTo>
                  <a:cubicBezTo>
                    <a:pt x="1186" y="731"/>
                    <a:pt x="1324" y="527"/>
                    <a:pt x="1567" y="524"/>
                  </a:cubicBezTo>
                  <a:cubicBezTo>
                    <a:pt x="1423" y="513"/>
                    <a:pt x="1253" y="617"/>
                    <a:pt x="1131" y="761"/>
                  </a:cubicBezTo>
                  <a:cubicBezTo>
                    <a:pt x="1133" y="701"/>
                    <a:pt x="1128" y="640"/>
                    <a:pt x="1114" y="579"/>
                  </a:cubicBezTo>
                  <a:cubicBezTo>
                    <a:pt x="1110" y="465"/>
                    <a:pt x="1145" y="339"/>
                    <a:pt x="1284" y="266"/>
                  </a:cubicBezTo>
                  <a:cubicBezTo>
                    <a:pt x="1198" y="305"/>
                    <a:pt x="1120" y="381"/>
                    <a:pt x="1087" y="490"/>
                  </a:cubicBezTo>
                  <a:cubicBezTo>
                    <a:pt x="1063" y="428"/>
                    <a:pt x="1030" y="368"/>
                    <a:pt x="987" y="310"/>
                  </a:cubicBezTo>
                  <a:cubicBezTo>
                    <a:pt x="1142" y="559"/>
                    <a:pt x="1095" y="764"/>
                    <a:pt x="1017" y="937"/>
                  </a:cubicBezTo>
                  <a:cubicBezTo>
                    <a:pt x="1010" y="754"/>
                    <a:pt x="917" y="601"/>
                    <a:pt x="795" y="509"/>
                  </a:cubicBezTo>
                  <a:cubicBezTo>
                    <a:pt x="986" y="704"/>
                    <a:pt x="971" y="980"/>
                    <a:pt x="899" y="1168"/>
                  </a:cubicBezTo>
                  <a:cubicBezTo>
                    <a:pt x="858" y="1245"/>
                    <a:pt x="831" y="1297"/>
                    <a:pt x="820" y="1358"/>
                  </a:cubicBezTo>
                  <a:cubicBezTo>
                    <a:pt x="739" y="1210"/>
                    <a:pt x="668" y="1046"/>
                    <a:pt x="644" y="942"/>
                  </a:cubicBezTo>
                  <a:cubicBezTo>
                    <a:pt x="590" y="708"/>
                    <a:pt x="609" y="334"/>
                    <a:pt x="873" y="0"/>
                  </a:cubicBezTo>
                  <a:cubicBezTo>
                    <a:pt x="805" y="76"/>
                    <a:pt x="736" y="174"/>
                    <a:pt x="680" y="282"/>
                  </a:cubicBezTo>
                  <a:cubicBezTo>
                    <a:pt x="666" y="167"/>
                    <a:pt x="601" y="75"/>
                    <a:pt x="520" y="22"/>
                  </a:cubicBezTo>
                  <a:cubicBezTo>
                    <a:pt x="659" y="127"/>
                    <a:pt x="661" y="276"/>
                    <a:pt x="629" y="396"/>
                  </a:cubicBezTo>
                  <a:cubicBezTo>
                    <a:pt x="567" y="550"/>
                    <a:pt x="531" y="720"/>
                    <a:pt x="549" y="886"/>
                  </a:cubicBezTo>
                  <a:cubicBezTo>
                    <a:pt x="553" y="926"/>
                    <a:pt x="566" y="1049"/>
                    <a:pt x="589" y="1130"/>
                  </a:cubicBezTo>
                  <a:cubicBezTo>
                    <a:pt x="449" y="940"/>
                    <a:pt x="359" y="660"/>
                    <a:pt x="407" y="295"/>
                  </a:cubicBezTo>
                  <a:cubicBezTo>
                    <a:pt x="383" y="407"/>
                    <a:pt x="375" y="535"/>
                    <a:pt x="382" y="671"/>
                  </a:cubicBezTo>
                  <a:cubicBezTo>
                    <a:pt x="273" y="554"/>
                    <a:pt x="124" y="521"/>
                    <a:pt x="0" y="548"/>
                  </a:cubicBezTo>
                  <a:cubicBezTo>
                    <a:pt x="204" y="520"/>
                    <a:pt x="330" y="635"/>
                    <a:pt x="389" y="754"/>
                  </a:cubicBezTo>
                  <a:cubicBezTo>
                    <a:pt x="405" y="880"/>
                    <a:pt x="431" y="1004"/>
                    <a:pt x="479" y="1122"/>
                  </a:cubicBezTo>
                  <a:cubicBezTo>
                    <a:pt x="416" y="1100"/>
                    <a:pt x="352" y="1093"/>
                    <a:pt x="290" y="1097"/>
                  </a:cubicBezTo>
                  <a:cubicBezTo>
                    <a:pt x="187" y="1057"/>
                    <a:pt x="87" y="977"/>
                    <a:pt x="72" y="825"/>
                  </a:cubicBezTo>
                  <a:cubicBezTo>
                    <a:pt x="75" y="926"/>
                    <a:pt x="126" y="1037"/>
                    <a:pt x="226" y="1109"/>
                  </a:cubicBezTo>
                  <a:cubicBezTo>
                    <a:pt x="150" y="1126"/>
                    <a:pt x="78" y="1159"/>
                    <a:pt x="18" y="1208"/>
                  </a:cubicBezTo>
                  <a:cubicBezTo>
                    <a:pt x="255" y="1128"/>
                    <a:pt x="417" y="1158"/>
                    <a:pt x="538" y="1241"/>
                  </a:cubicBezTo>
                  <a:cubicBezTo>
                    <a:pt x="559" y="1276"/>
                    <a:pt x="582" y="1314"/>
                    <a:pt x="608" y="1347"/>
                  </a:cubicBezTo>
                  <a:cubicBezTo>
                    <a:pt x="818" y="1627"/>
                    <a:pt x="936" y="1846"/>
                    <a:pt x="890" y="2115"/>
                  </a:cubicBezTo>
                  <a:cubicBezTo>
                    <a:pt x="1166" y="2116"/>
                    <a:pt x="1166" y="2116"/>
                    <a:pt x="1166" y="2116"/>
                  </a:cubicBezTo>
                  <a:cubicBezTo>
                    <a:pt x="1176" y="1919"/>
                    <a:pt x="1116" y="1721"/>
                    <a:pt x="983" y="1539"/>
                  </a:cubicBezTo>
                  <a:cubicBezTo>
                    <a:pt x="963" y="1471"/>
                    <a:pt x="955" y="1413"/>
                    <a:pt x="961" y="1354"/>
                  </a:cubicBezTo>
                  <a:cubicBezTo>
                    <a:pt x="1010" y="1233"/>
                    <a:pt x="1076" y="1141"/>
                    <a:pt x="1231" y="1112"/>
                  </a:cubicBezTo>
                  <a:cubicBezTo>
                    <a:pt x="1233" y="1112"/>
                    <a:pt x="1233" y="1112"/>
                    <a:pt x="1233" y="1112"/>
                  </a:cubicBezTo>
                  <a:cubicBezTo>
                    <a:pt x="1343" y="1115"/>
                    <a:pt x="1465" y="1152"/>
                    <a:pt x="1534" y="1290"/>
                  </a:cubicBezTo>
                  <a:cubicBezTo>
                    <a:pt x="1499" y="1204"/>
                    <a:pt x="1423" y="1125"/>
                    <a:pt x="1317" y="1087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auto">
            <a:xfrm>
              <a:off x="7359463" y="2001748"/>
              <a:ext cx="238237" cy="391610"/>
            </a:xfrm>
            <a:custGeom>
              <a:avLst/>
              <a:gdLst>
                <a:gd name="T0" fmla="*/ 55 w 141"/>
                <a:gd name="T1" fmla="*/ 228 h 232"/>
                <a:gd name="T2" fmla="*/ 17 w 141"/>
                <a:gd name="T3" fmla="*/ 142 h 232"/>
                <a:gd name="T4" fmla="*/ 26 w 141"/>
                <a:gd name="T5" fmla="*/ 0 h 232"/>
                <a:gd name="T6" fmla="*/ 137 w 141"/>
                <a:gd name="T7" fmla="*/ 158 h 232"/>
                <a:gd name="T8" fmla="*/ 69 w 141"/>
                <a:gd name="T9" fmla="*/ 228 h 232"/>
                <a:gd name="T10" fmla="*/ 51 w 141"/>
                <a:gd name="T11" fmla="*/ 43 h 232"/>
                <a:gd name="T12" fmla="*/ 55 w 141"/>
                <a:gd name="T13" fmla="*/ 228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32">
                  <a:moveTo>
                    <a:pt x="55" y="228"/>
                  </a:moveTo>
                  <a:cubicBezTo>
                    <a:pt x="16" y="208"/>
                    <a:pt x="0" y="173"/>
                    <a:pt x="17" y="142"/>
                  </a:cubicBezTo>
                  <a:cubicBezTo>
                    <a:pt x="37" y="97"/>
                    <a:pt x="38" y="48"/>
                    <a:pt x="26" y="0"/>
                  </a:cubicBezTo>
                  <a:cubicBezTo>
                    <a:pt x="76" y="39"/>
                    <a:pt x="131" y="85"/>
                    <a:pt x="137" y="158"/>
                  </a:cubicBezTo>
                  <a:cubicBezTo>
                    <a:pt x="141" y="206"/>
                    <a:pt x="122" y="232"/>
                    <a:pt x="69" y="228"/>
                  </a:cubicBezTo>
                  <a:cubicBezTo>
                    <a:pt x="75" y="175"/>
                    <a:pt x="74" y="108"/>
                    <a:pt x="51" y="43"/>
                  </a:cubicBezTo>
                  <a:cubicBezTo>
                    <a:pt x="74" y="116"/>
                    <a:pt x="70" y="172"/>
                    <a:pt x="55" y="22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auto">
            <a:xfrm>
              <a:off x="6123298" y="2538336"/>
              <a:ext cx="799676" cy="508260"/>
            </a:xfrm>
            <a:custGeom>
              <a:avLst/>
              <a:gdLst>
                <a:gd name="T0" fmla="*/ 474 w 474"/>
                <a:gd name="T1" fmla="*/ 114 h 302"/>
                <a:gd name="T2" fmla="*/ 270 w 474"/>
                <a:gd name="T3" fmla="*/ 278 h 302"/>
                <a:gd name="T4" fmla="*/ 0 w 474"/>
                <a:gd name="T5" fmla="*/ 277 h 302"/>
                <a:gd name="T6" fmla="*/ 278 w 474"/>
                <a:gd name="T7" fmla="*/ 38 h 302"/>
                <a:gd name="T8" fmla="*/ 466 w 474"/>
                <a:gd name="T9" fmla="*/ 93 h 302"/>
                <a:gd name="T10" fmla="*/ 97 w 474"/>
                <a:gd name="T11" fmla="*/ 205 h 302"/>
                <a:gd name="T12" fmla="*/ 474 w 474"/>
                <a:gd name="T13" fmla="*/ 11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4" h="302">
                  <a:moveTo>
                    <a:pt x="474" y="114"/>
                  </a:moveTo>
                  <a:cubicBezTo>
                    <a:pt x="466" y="226"/>
                    <a:pt x="392" y="302"/>
                    <a:pt x="270" y="278"/>
                  </a:cubicBezTo>
                  <a:cubicBezTo>
                    <a:pt x="179" y="260"/>
                    <a:pt x="94" y="245"/>
                    <a:pt x="0" y="277"/>
                  </a:cubicBezTo>
                  <a:cubicBezTo>
                    <a:pt x="64" y="156"/>
                    <a:pt x="154" y="67"/>
                    <a:pt x="278" y="38"/>
                  </a:cubicBezTo>
                  <a:cubicBezTo>
                    <a:pt x="278" y="38"/>
                    <a:pt x="399" y="0"/>
                    <a:pt x="466" y="93"/>
                  </a:cubicBezTo>
                  <a:cubicBezTo>
                    <a:pt x="335" y="95"/>
                    <a:pt x="208" y="140"/>
                    <a:pt x="97" y="205"/>
                  </a:cubicBezTo>
                  <a:cubicBezTo>
                    <a:pt x="235" y="136"/>
                    <a:pt x="353" y="111"/>
                    <a:pt x="474" y="1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2" name="Freeform 27"/>
            <p:cNvSpPr>
              <a:spLocks/>
            </p:cNvSpPr>
            <p:nvPr/>
          </p:nvSpPr>
          <p:spPr bwMode="auto">
            <a:xfrm>
              <a:off x="6794692" y="2918281"/>
              <a:ext cx="224909" cy="353282"/>
            </a:xfrm>
            <a:custGeom>
              <a:avLst/>
              <a:gdLst>
                <a:gd name="T0" fmla="*/ 82 w 134"/>
                <a:gd name="T1" fmla="*/ 210 h 210"/>
                <a:gd name="T2" fmla="*/ 124 w 134"/>
                <a:gd name="T3" fmla="*/ 133 h 210"/>
                <a:gd name="T4" fmla="*/ 132 w 134"/>
                <a:gd name="T5" fmla="*/ 0 h 210"/>
                <a:gd name="T6" fmla="*/ 9 w 134"/>
                <a:gd name="T7" fmla="*/ 134 h 210"/>
                <a:gd name="T8" fmla="*/ 74 w 134"/>
                <a:gd name="T9" fmla="*/ 210 h 210"/>
                <a:gd name="T10" fmla="*/ 102 w 134"/>
                <a:gd name="T11" fmla="*/ 37 h 210"/>
                <a:gd name="T12" fmla="*/ 82 w 134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210">
                  <a:moveTo>
                    <a:pt x="82" y="210"/>
                  </a:moveTo>
                  <a:cubicBezTo>
                    <a:pt x="122" y="198"/>
                    <a:pt x="134" y="166"/>
                    <a:pt x="124" y="133"/>
                  </a:cubicBezTo>
                  <a:cubicBezTo>
                    <a:pt x="111" y="88"/>
                    <a:pt x="115" y="45"/>
                    <a:pt x="132" y="0"/>
                  </a:cubicBezTo>
                  <a:cubicBezTo>
                    <a:pt x="81" y="31"/>
                    <a:pt x="24" y="67"/>
                    <a:pt x="9" y="134"/>
                  </a:cubicBezTo>
                  <a:cubicBezTo>
                    <a:pt x="0" y="179"/>
                    <a:pt x="21" y="206"/>
                    <a:pt x="74" y="210"/>
                  </a:cubicBezTo>
                  <a:cubicBezTo>
                    <a:pt x="56" y="151"/>
                    <a:pt x="71" y="89"/>
                    <a:pt x="102" y="37"/>
                  </a:cubicBezTo>
                  <a:cubicBezTo>
                    <a:pt x="71" y="103"/>
                    <a:pt x="67" y="156"/>
                    <a:pt x="82" y="21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3" name="Freeform 28"/>
            <p:cNvSpPr>
              <a:spLocks/>
            </p:cNvSpPr>
            <p:nvPr/>
          </p:nvSpPr>
          <p:spPr bwMode="auto">
            <a:xfrm>
              <a:off x="6311555" y="3648175"/>
              <a:ext cx="636409" cy="851543"/>
            </a:xfrm>
            <a:custGeom>
              <a:avLst/>
              <a:gdLst>
                <a:gd name="T0" fmla="*/ 345 w 377"/>
                <a:gd name="T1" fmla="*/ 105 h 505"/>
                <a:gd name="T2" fmla="*/ 268 w 377"/>
                <a:gd name="T3" fmla="*/ 291 h 505"/>
                <a:gd name="T4" fmla="*/ 44 w 377"/>
                <a:gd name="T5" fmla="*/ 505 h 505"/>
                <a:gd name="T6" fmla="*/ 99 w 377"/>
                <a:gd name="T7" fmla="*/ 84 h 505"/>
                <a:gd name="T8" fmla="*/ 329 w 377"/>
                <a:gd name="T9" fmla="*/ 84 h 505"/>
                <a:gd name="T10" fmla="*/ 68 w 377"/>
                <a:gd name="T11" fmla="*/ 393 h 505"/>
                <a:gd name="T12" fmla="*/ 345 w 377"/>
                <a:gd name="T13" fmla="*/ 1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7" h="505">
                  <a:moveTo>
                    <a:pt x="345" y="105"/>
                  </a:moveTo>
                  <a:cubicBezTo>
                    <a:pt x="377" y="194"/>
                    <a:pt x="341" y="258"/>
                    <a:pt x="268" y="291"/>
                  </a:cubicBezTo>
                  <a:cubicBezTo>
                    <a:pt x="171" y="334"/>
                    <a:pt x="97" y="407"/>
                    <a:pt x="44" y="505"/>
                  </a:cubicBezTo>
                  <a:cubicBezTo>
                    <a:pt x="21" y="365"/>
                    <a:pt x="0" y="210"/>
                    <a:pt x="99" y="84"/>
                  </a:cubicBezTo>
                  <a:cubicBezTo>
                    <a:pt x="165" y="0"/>
                    <a:pt x="245" y="1"/>
                    <a:pt x="329" y="84"/>
                  </a:cubicBezTo>
                  <a:cubicBezTo>
                    <a:pt x="199" y="142"/>
                    <a:pt x="114" y="261"/>
                    <a:pt x="68" y="393"/>
                  </a:cubicBezTo>
                  <a:cubicBezTo>
                    <a:pt x="133" y="240"/>
                    <a:pt x="223" y="153"/>
                    <a:pt x="345" y="10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auto">
            <a:xfrm>
              <a:off x="7949224" y="2551668"/>
              <a:ext cx="249899" cy="191639"/>
            </a:xfrm>
            <a:custGeom>
              <a:avLst/>
              <a:gdLst>
                <a:gd name="T0" fmla="*/ 131 w 148"/>
                <a:gd name="T1" fmla="*/ 93 h 114"/>
                <a:gd name="T2" fmla="*/ 52 w 148"/>
                <a:gd name="T3" fmla="*/ 75 h 114"/>
                <a:gd name="T4" fmla="*/ 0 w 148"/>
                <a:gd name="T5" fmla="*/ 10 h 114"/>
                <a:gd name="T6" fmla="*/ 111 w 148"/>
                <a:gd name="T7" fmla="*/ 31 h 114"/>
                <a:gd name="T8" fmla="*/ 137 w 148"/>
                <a:gd name="T9" fmla="*/ 85 h 114"/>
                <a:gd name="T10" fmla="*/ 37 w 148"/>
                <a:gd name="T11" fmla="*/ 19 h 114"/>
                <a:gd name="T12" fmla="*/ 131 w 148"/>
                <a:gd name="T13" fmla="*/ 9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114">
                  <a:moveTo>
                    <a:pt x="131" y="93"/>
                  </a:moveTo>
                  <a:cubicBezTo>
                    <a:pt x="101" y="114"/>
                    <a:pt x="70" y="110"/>
                    <a:pt x="52" y="75"/>
                  </a:cubicBezTo>
                  <a:cubicBezTo>
                    <a:pt x="39" y="51"/>
                    <a:pt x="26" y="27"/>
                    <a:pt x="0" y="10"/>
                  </a:cubicBezTo>
                  <a:cubicBezTo>
                    <a:pt x="43" y="0"/>
                    <a:pt x="80" y="6"/>
                    <a:pt x="111" y="31"/>
                  </a:cubicBezTo>
                  <a:cubicBezTo>
                    <a:pt x="111" y="31"/>
                    <a:pt x="148" y="51"/>
                    <a:pt x="137" y="85"/>
                  </a:cubicBezTo>
                  <a:cubicBezTo>
                    <a:pt x="111" y="58"/>
                    <a:pt x="74" y="33"/>
                    <a:pt x="37" y="19"/>
                  </a:cubicBezTo>
                  <a:cubicBezTo>
                    <a:pt x="79" y="41"/>
                    <a:pt x="108" y="63"/>
                    <a:pt x="131" y="9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5" name="Freeform 30"/>
            <p:cNvSpPr>
              <a:spLocks/>
            </p:cNvSpPr>
            <p:nvPr/>
          </p:nvSpPr>
          <p:spPr bwMode="auto">
            <a:xfrm>
              <a:off x="8110826" y="2108398"/>
              <a:ext cx="453150" cy="316621"/>
            </a:xfrm>
            <a:custGeom>
              <a:avLst/>
              <a:gdLst>
                <a:gd name="T0" fmla="*/ 221 w 268"/>
                <a:gd name="T1" fmla="*/ 165 h 188"/>
                <a:gd name="T2" fmla="*/ 123 w 268"/>
                <a:gd name="T3" fmla="*/ 142 h 188"/>
                <a:gd name="T4" fmla="*/ 0 w 268"/>
                <a:gd name="T5" fmla="*/ 43 h 188"/>
                <a:gd name="T6" fmla="*/ 213 w 268"/>
                <a:gd name="T7" fmla="*/ 42 h 188"/>
                <a:gd name="T8" fmla="*/ 230 w 268"/>
                <a:gd name="T9" fmla="*/ 157 h 188"/>
                <a:gd name="T10" fmla="*/ 56 w 268"/>
                <a:gd name="T11" fmla="*/ 47 h 188"/>
                <a:gd name="T12" fmla="*/ 221 w 268"/>
                <a:gd name="T13" fmla="*/ 16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" h="188">
                  <a:moveTo>
                    <a:pt x="221" y="165"/>
                  </a:moveTo>
                  <a:cubicBezTo>
                    <a:pt x="181" y="188"/>
                    <a:pt x="144" y="174"/>
                    <a:pt x="123" y="142"/>
                  </a:cubicBezTo>
                  <a:cubicBezTo>
                    <a:pt x="95" y="96"/>
                    <a:pt x="53" y="62"/>
                    <a:pt x="0" y="43"/>
                  </a:cubicBezTo>
                  <a:cubicBezTo>
                    <a:pt x="67" y="20"/>
                    <a:pt x="145" y="0"/>
                    <a:pt x="213" y="42"/>
                  </a:cubicBezTo>
                  <a:cubicBezTo>
                    <a:pt x="261" y="67"/>
                    <a:pt x="268" y="110"/>
                    <a:pt x="230" y="157"/>
                  </a:cubicBezTo>
                  <a:cubicBezTo>
                    <a:pt x="191" y="95"/>
                    <a:pt x="127" y="61"/>
                    <a:pt x="56" y="47"/>
                  </a:cubicBezTo>
                  <a:cubicBezTo>
                    <a:pt x="138" y="70"/>
                    <a:pt x="188" y="108"/>
                    <a:pt x="221" y="165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6" name="Freeform 31"/>
            <p:cNvSpPr>
              <a:spLocks/>
            </p:cNvSpPr>
            <p:nvPr/>
          </p:nvSpPr>
          <p:spPr bwMode="auto">
            <a:xfrm>
              <a:off x="8860522" y="2013413"/>
              <a:ext cx="629745" cy="431604"/>
            </a:xfrm>
            <a:custGeom>
              <a:avLst/>
              <a:gdLst>
                <a:gd name="T0" fmla="*/ 8 w 374"/>
                <a:gd name="T1" fmla="*/ 178 h 256"/>
                <a:gd name="T2" fmla="*/ 209 w 374"/>
                <a:gd name="T3" fmla="*/ 185 h 256"/>
                <a:gd name="T4" fmla="*/ 374 w 374"/>
                <a:gd name="T5" fmla="*/ 58 h 256"/>
                <a:gd name="T6" fmla="*/ 91 w 374"/>
                <a:gd name="T7" fmla="*/ 41 h 256"/>
                <a:gd name="T8" fmla="*/ 1 w 374"/>
                <a:gd name="T9" fmla="*/ 162 h 256"/>
                <a:gd name="T10" fmla="*/ 284 w 374"/>
                <a:gd name="T11" fmla="*/ 59 h 256"/>
                <a:gd name="T12" fmla="*/ 8 w 374"/>
                <a:gd name="T13" fmla="*/ 17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4" h="256">
                  <a:moveTo>
                    <a:pt x="8" y="178"/>
                  </a:moveTo>
                  <a:cubicBezTo>
                    <a:pt x="66" y="246"/>
                    <a:pt x="148" y="256"/>
                    <a:pt x="209" y="185"/>
                  </a:cubicBezTo>
                  <a:cubicBezTo>
                    <a:pt x="255" y="130"/>
                    <a:pt x="302" y="80"/>
                    <a:pt x="374" y="58"/>
                  </a:cubicBezTo>
                  <a:cubicBezTo>
                    <a:pt x="279" y="13"/>
                    <a:pt x="183" y="0"/>
                    <a:pt x="91" y="41"/>
                  </a:cubicBezTo>
                  <a:cubicBezTo>
                    <a:pt x="91" y="41"/>
                    <a:pt x="0" y="74"/>
                    <a:pt x="1" y="162"/>
                  </a:cubicBezTo>
                  <a:cubicBezTo>
                    <a:pt x="85" y="102"/>
                    <a:pt x="182" y="70"/>
                    <a:pt x="284" y="59"/>
                  </a:cubicBezTo>
                  <a:cubicBezTo>
                    <a:pt x="163" y="80"/>
                    <a:pt x="79" y="121"/>
                    <a:pt x="8" y="178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7" name="Freeform 32"/>
            <p:cNvSpPr>
              <a:spLocks/>
            </p:cNvSpPr>
            <p:nvPr/>
          </p:nvSpPr>
          <p:spPr bwMode="auto">
            <a:xfrm>
              <a:off x="9248697" y="2500009"/>
              <a:ext cx="879644" cy="524924"/>
            </a:xfrm>
            <a:custGeom>
              <a:avLst/>
              <a:gdLst>
                <a:gd name="T0" fmla="*/ 0 w 522"/>
                <a:gd name="T1" fmla="*/ 133 h 312"/>
                <a:gd name="T2" fmla="*/ 246 w 522"/>
                <a:gd name="T3" fmla="*/ 259 h 312"/>
                <a:gd name="T4" fmla="*/ 522 w 522"/>
                <a:gd name="T5" fmla="*/ 201 h 312"/>
                <a:gd name="T6" fmla="*/ 185 w 522"/>
                <a:gd name="T7" fmla="*/ 11 h 312"/>
                <a:gd name="T8" fmla="*/ 3 w 522"/>
                <a:gd name="T9" fmla="*/ 109 h 312"/>
                <a:gd name="T10" fmla="*/ 409 w 522"/>
                <a:gd name="T11" fmla="*/ 147 h 312"/>
                <a:gd name="T12" fmla="*/ 0 w 522"/>
                <a:gd name="T13" fmla="*/ 13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2" h="312">
                  <a:moveTo>
                    <a:pt x="0" y="133"/>
                  </a:moveTo>
                  <a:cubicBezTo>
                    <a:pt x="30" y="249"/>
                    <a:pt x="124" y="312"/>
                    <a:pt x="246" y="259"/>
                  </a:cubicBezTo>
                  <a:cubicBezTo>
                    <a:pt x="332" y="221"/>
                    <a:pt x="419" y="188"/>
                    <a:pt x="522" y="201"/>
                  </a:cubicBezTo>
                  <a:cubicBezTo>
                    <a:pt x="431" y="89"/>
                    <a:pt x="321" y="17"/>
                    <a:pt x="185" y="11"/>
                  </a:cubicBezTo>
                  <a:cubicBezTo>
                    <a:pt x="185" y="11"/>
                    <a:pt x="51" y="0"/>
                    <a:pt x="3" y="109"/>
                  </a:cubicBezTo>
                  <a:cubicBezTo>
                    <a:pt x="137" y="85"/>
                    <a:pt x="279" y="104"/>
                    <a:pt x="409" y="147"/>
                  </a:cubicBezTo>
                  <a:cubicBezTo>
                    <a:pt x="249" y="106"/>
                    <a:pt x="124" y="106"/>
                    <a:pt x="0" y="133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auto">
            <a:xfrm>
              <a:off x="9263692" y="3048262"/>
              <a:ext cx="153271" cy="226634"/>
            </a:xfrm>
            <a:custGeom>
              <a:avLst/>
              <a:gdLst>
                <a:gd name="T0" fmla="*/ 40 w 91"/>
                <a:gd name="T1" fmla="*/ 134 h 134"/>
                <a:gd name="T2" fmla="*/ 9 w 91"/>
                <a:gd name="T3" fmla="*/ 85 h 134"/>
                <a:gd name="T4" fmla="*/ 0 w 91"/>
                <a:gd name="T5" fmla="*/ 0 h 134"/>
                <a:gd name="T6" fmla="*/ 84 w 91"/>
                <a:gd name="T7" fmla="*/ 82 h 134"/>
                <a:gd name="T8" fmla="*/ 45 w 91"/>
                <a:gd name="T9" fmla="*/ 132 h 134"/>
                <a:gd name="T10" fmla="*/ 21 w 91"/>
                <a:gd name="T11" fmla="*/ 24 h 134"/>
                <a:gd name="T12" fmla="*/ 40 w 91"/>
                <a:gd name="T13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34">
                  <a:moveTo>
                    <a:pt x="40" y="134"/>
                  </a:moveTo>
                  <a:cubicBezTo>
                    <a:pt x="16" y="126"/>
                    <a:pt x="6" y="107"/>
                    <a:pt x="9" y="85"/>
                  </a:cubicBezTo>
                  <a:cubicBezTo>
                    <a:pt x="18" y="56"/>
                    <a:pt x="13" y="27"/>
                    <a:pt x="0" y="0"/>
                  </a:cubicBezTo>
                  <a:cubicBezTo>
                    <a:pt x="34" y="16"/>
                    <a:pt x="71" y="39"/>
                    <a:pt x="84" y="82"/>
                  </a:cubicBezTo>
                  <a:cubicBezTo>
                    <a:pt x="91" y="109"/>
                    <a:pt x="80" y="127"/>
                    <a:pt x="45" y="132"/>
                  </a:cubicBezTo>
                  <a:cubicBezTo>
                    <a:pt x="54" y="94"/>
                    <a:pt x="42" y="57"/>
                    <a:pt x="21" y="24"/>
                  </a:cubicBezTo>
                  <a:cubicBezTo>
                    <a:pt x="44" y="65"/>
                    <a:pt x="49" y="97"/>
                    <a:pt x="40" y="13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9157068" y="3831482"/>
              <a:ext cx="541447" cy="836545"/>
            </a:xfrm>
            <a:custGeom>
              <a:avLst/>
              <a:gdLst>
                <a:gd name="T0" fmla="*/ 79 w 321"/>
                <a:gd name="T1" fmla="*/ 23 h 496"/>
                <a:gd name="T2" fmla="*/ 81 w 321"/>
                <a:gd name="T3" fmla="*/ 282 h 496"/>
                <a:gd name="T4" fmla="*/ 232 w 321"/>
                <a:gd name="T5" fmla="*/ 496 h 496"/>
                <a:gd name="T6" fmla="*/ 241 w 321"/>
                <a:gd name="T7" fmla="*/ 77 h 496"/>
                <a:gd name="T8" fmla="*/ 98 w 321"/>
                <a:gd name="T9" fmla="*/ 12 h 496"/>
                <a:gd name="T10" fmla="*/ 226 w 321"/>
                <a:gd name="T11" fmla="*/ 397 h 496"/>
                <a:gd name="T12" fmla="*/ 79 w 321"/>
                <a:gd name="T13" fmla="*/ 23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1" h="496">
                  <a:moveTo>
                    <a:pt x="79" y="23"/>
                  </a:moveTo>
                  <a:cubicBezTo>
                    <a:pt x="16" y="109"/>
                    <a:pt x="0" y="208"/>
                    <a:pt x="81" y="282"/>
                  </a:cubicBezTo>
                  <a:cubicBezTo>
                    <a:pt x="160" y="356"/>
                    <a:pt x="215" y="413"/>
                    <a:pt x="232" y="496"/>
                  </a:cubicBezTo>
                  <a:cubicBezTo>
                    <a:pt x="294" y="351"/>
                    <a:pt x="321" y="204"/>
                    <a:pt x="241" y="77"/>
                  </a:cubicBezTo>
                  <a:cubicBezTo>
                    <a:pt x="200" y="12"/>
                    <a:pt x="149" y="0"/>
                    <a:pt x="98" y="12"/>
                  </a:cubicBezTo>
                  <a:cubicBezTo>
                    <a:pt x="181" y="124"/>
                    <a:pt x="221" y="261"/>
                    <a:pt x="226" y="397"/>
                  </a:cubicBezTo>
                  <a:cubicBezTo>
                    <a:pt x="208" y="234"/>
                    <a:pt x="157" y="123"/>
                    <a:pt x="79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43201" tIns="21601" rIns="43201" bIns="21601" numCol="1" anchor="t" anchorCtr="0" compatLnSpc="1">
              <a:prstTxWarp prst="textNoShape">
                <a:avLst/>
              </a:prstTxWarp>
            </a:bodyPr>
            <a:lstStyle/>
            <a:p>
              <a:endParaRPr lang="en-US" sz="1087" dirty="0"/>
            </a:p>
          </p:txBody>
        </p:sp>
      </p:grpSp>
      <p:sp>
        <p:nvSpPr>
          <p:cNvPr id="30" name="Oval 47"/>
          <p:cNvSpPr/>
          <p:nvPr/>
        </p:nvSpPr>
        <p:spPr bwMode="auto">
          <a:xfrm>
            <a:off x="1527537" y="1075983"/>
            <a:ext cx="722722" cy="722910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31" name="Rectangle 48"/>
          <p:cNvSpPr/>
          <p:nvPr/>
        </p:nvSpPr>
        <p:spPr>
          <a:xfrm>
            <a:off x="2511820" y="1084567"/>
            <a:ext cx="3030640" cy="720231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Felelőségteljes </a:t>
            </a:r>
          </a:p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nyilvánosságra hozatal</a:t>
            </a:r>
            <a:endParaRPr lang="en-US" sz="20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Group 153"/>
          <p:cNvGrpSpPr/>
          <p:nvPr/>
        </p:nvGrpSpPr>
        <p:grpSpPr>
          <a:xfrm>
            <a:off x="1676211" y="3977964"/>
            <a:ext cx="405003" cy="401466"/>
            <a:chOff x="-6350" y="1208088"/>
            <a:chExt cx="363538" cy="360363"/>
          </a:xfrm>
          <a:solidFill>
            <a:srgbClr val="FFFFFF"/>
          </a:solidFill>
        </p:grpSpPr>
        <p:sp>
          <p:nvSpPr>
            <p:cNvPr id="43" name="Freeform 5"/>
            <p:cNvSpPr>
              <a:spLocks noEditPoints="1"/>
            </p:cNvSpPr>
            <p:nvPr/>
          </p:nvSpPr>
          <p:spPr bwMode="auto">
            <a:xfrm>
              <a:off x="-6350" y="1208088"/>
              <a:ext cx="363538" cy="360363"/>
            </a:xfrm>
            <a:custGeom>
              <a:avLst/>
              <a:gdLst/>
              <a:ahLst/>
              <a:cxnLst>
                <a:cxn ang="0">
                  <a:pos x="121" y="41"/>
                </a:cxn>
                <a:cxn ang="0">
                  <a:pos x="83" y="2"/>
                </a:cxn>
                <a:cxn ang="0">
                  <a:pos x="76" y="0"/>
                </a:cxn>
                <a:cxn ang="0">
                  <a:pos x="72" y="2"/>
                </a:cxn>
                <a:cxn ang="0">
                  <a:pos x="70" y="6"/>
                </a:cxn>
                <a:cxn ang="0">
                  <a:pos x="61" y="21"/>
                </a:cxn>
                <a:cxn ang="0">
                  <a:pos x="39" y="36"/>
                </a:cxn>
                <a:cxn ang="0">
                  <a:pos x="14" y="53"/>
                </a:cxn>
                <a:cxn ang="0">
                  <a:pos x="1" y="75"/>
                </a:cxn>
                <a:cxn ang="0">
                  <a:pos x="3" y="82"/>
                </a:cxn>
                <a:cxn ang="0">
                  <a:pos x="42" y="121"/>
                </a:cxn>
                <a:cxn ang="0">
                  <a:pos x="49" y="123"/>
                </a:cxn>
                <a:cxn ang="0">
                  <a:pos x="52" y="121"/>
                </a:cxn>
                <a:cxn ang="0">
                  <a:pos x="54" y="117"/>
                </a:cxn>
                <a:cxn ang="0">
                  <a:pos x="63" y="103"/>
                </a:cxn>
                <a:cxn ang="0">
                  <a:pos x="85" y="87"/>
                </a:cxn>
                <a:cxn ang="0">
                  <a:pos x="110" y="70"/>
                </a:cxn>
                <a:cxn ang="0">
                  <a:pos x="123" y="48"/>
                </a:cxn>
                <a:cxn ang="0">
                  <a:pos x="121" y="41"/>
                </a:cxn>
                <a:cxn ang="0">
                  <a:pos x="47" y="115"/>
                </a:cxn>
                <a:cxn ang="0">
                  <a:pos x="9" y="77"/>
                </a:cxn>
                <a:cxn ang="0">
                  <a:pos x="78" y="8"/>
                </a:cxn>
                <a:cxn ang="0">
                  <a:pos x="116" y="46"/>
                </a:cxn>
                <a:cxn ang="0">
                  <a:pos x="47" y="115"/>
                </a:cxn>
                <a:cxn ang="0">
                  <a:pos x="47" y="115"/>
                </a:cxn>
                <a:cxn ang="0">
                  <a:pos x="47" y="115"/>
                </a:cxn>
              </a:cxnLst>
              <a:rect l="0" t="0" r="r" b="b"/>
              <a:pathLst>
                <a:path w="124" h="123">
                  <a:moveTo>
                    <a:pt x="121" y="41"/>
                  </a:moveTo>
                  <a:cubicBezTo>
                    <a:pt x="83" y="2"/>
                    <a:pt x="83" y="2"/>
                    <a:pt x="83" y="2"/>
                  </a:cubicBezTo>
                  <a:cubicBezTo>
                    <a:pt x="81" y="0"/>
                    <a:pt x="78" y="0"/>
                    <a:pt x="76" y="0"/>
                  </a:cubicBezTo>
                  <a:cubicBezTo>
                    <a:pt x="74" y="1"/>
                    <a:pt x="73" y="1"/>
                    <a:pt x="72" y="2"/>
                  </a:cubicBezTo>
                  <a:cubicBezTo>
                    <a:pt x="71" y="3"/>
                    <a:pt x="71" y="4"/>
                    <a:pt x="70" y="6"/>
                  </a:cubicBezTo>
                  <a:cubicBezTo>
                    <a:pt x="69" y="11"/>
                    <a:pt x="66" y="16"/>
                    <a:pt x="61" y="21"/>
                  </a:cubicBezTo>
                  <a:cubicBezTo>
                    <a:pt x="55" y="26"/>
                    <a:pt x="47" y="31"/>
                    <a:pt x="39" y="36"/>
                  </a:cubicBezTo>
                  <a:cubicBezTo>
                    <a:pt x="31" y="41"/>
                    <a:pt x="22" y="46"/>
                    <a:pt x="14" y="53"/>
                  </a:cubicBezTo>
                  <a:cubicBezTo>
                    <a:pt x="8" y="60"/>
                    <a:pt x="4" y="67"/>
                    <a:pt x="1" y="75"/>
                  </a:cubicBezTo>
                  <a:cubicBezTo>
                    <a:pt x="0" y="77"/>
                    <a:pt x="1" y="80"/>
                    <a:pt x="3" y="82"/>
                  </a:cubicBezTo>
                  <a:cubicBezTo>
                    <a:pt x="42" y="121"/>
                    <a:pt x="42" y="121"/>
                    <a:pt x="42" y="121"/>
                  </a:cubicBezTo>
                  <a:cubicBezTo>
                    <a:pt x="43" y="123"/>
                    <a:pt x="46" y="123"/>
                    <a:pt x="49" y="123"/>
                  </a:cubicBezTo>
                  <a:cubicBezTo>
                    <a:pt x="50" y="122"/>
                    <a:pt x="51" y="122"/>
                    <a:pt x="52" y="121"/>
                  </a:cubicBezTo>
                  <a:cubicBezTo>
                    <a:pt x="53" y="120"/>
                    <a:pt x="54" y="119"/>
                    <a:pt x="54" y="117"/>
                  </a:cubicBezTo>
                  <a:cubicBezTo>
                    <a:pt x="56" y="112"/>
                    <a:pt x="59" y="107"/>
                    <a:pt x="63" y="103"/>
                  </a:cubicBezTo>
                  <a:cubicBezTo>
                    <a:pt x="69" y="97"/>
                    <a:pt x="77" y="92"/>
                    <a:pt x="85" y="87"/>
                  </a:cubicBezTo>
                  <a:cubicBezTo>
                    <a:pt x="94" y="82"/>
                    <a:pt x="103" y="77"/>
                    <a:pt x="110" y="70"/>
                  </a:cubicBezTo>
                  <a:cubicBezTo>
                    <a:pt x="117" y="63"/>
                    <a:pt x="121" y="57"/>
                    <a:pt x="123" y="48"/>
                  </a:cubicBezTo>
                  <a:cubicBezTo>
                    <a:pt x="124" y="46"/>
                    <a:pt x="123" y="43"/>
                    <a:pt x="121" y="41"/>
                  </a:cubicBezTo>
                  <a:close/>
                  <a:moveTo>
                    <a:pt x="47" y="115"/>
                  </a:moveTo>
                  <a:cubicBezTo>
                    <a:pt x="34" y="103"/>
                    <a:pt x="21" y="90"/>
                    <a:pt x="9" y="77"/>
                  </a:cubicBezTo>
                  <a:cubicBezTo>
                    <a:pt x="20" y="42"/>
                    <a:pt x="67" y="43"/>
                    <a:pt x="78" y="8"/>
                  </a:cubicBezTo>
                  <a:cubicBezTo>
                    <a:pt x="90" y="21"/>
                    <a:pt x="103" y="33"/>
                    <a:pt x="116" y="46"/>
                  </a:cubicBezTo>
                  <a:cubicBezTo>
                    <a:pt x="105" y="81"/>
                    <a:pt x="58" y="80"/>
                    <a:pt x="47" y="115"/>
                  </a:cubicBezTo>
                  <a:close/>
                  <a:moveTo>
                    <a:pt x="47" y="115"/>
                  </a:moveTo>
                  <a:cubicBezTo>
                    <a:pt x="47" y="115"/>
                    <a:pt x="47" y="115"/>
                    <a:pt x="47" y="11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125413" y="1336676"/>
              <a:ext cx="100013" cy="100013"/>
            </a:xfrm>
            <a:custGeom>
              <a:avLst/>
              <a:gdLst/>
              <a:ahLst/>
              <a:cxnLst>
                <a:cxn ang="0">
                  <a:pos x="27" y="11"/>
                </a:cxn>
                <a:cxn ang="0">
                  <a:pos x="20" y="12"/>
                </a:cxn>
                <a:cxn ang="0">
                  <a:pos x="9" y="6"/>
                </a:cxn>
                <a:cxn ang="0">
                  <a:pos x="15" y="5"/>
                </a:cxn>
                <a:cxn ang="0">
                  <a:pos x="19" y="5"/>
                </a:cxn>
                <a:cxn ang="0">
                  <a:pos x="19" y="1"/>
                </a:cxn>
                <a:cxn ang="0">
                  <a:pos x="12" y="0"/>
                </a:cxn>
                <a:cxn ang="0">
                  <a:pos x="6" y="3"/>
                </a:cxn>
                <a:cxn ang="0">
                  <a:pos x="4" y="2"/>
                </a:cxn>
                <a:cxn ang="0">
                  <a:pos x="3" y="4"/>
                </a:cxn>
                <a:cxn ang="0">
                  <a:pos x="4" y="5"/>
                </a:cxn>
                <a:cxn ang="0">
                  <a:pos x="1" y="13"/>
                </a:cxn>
                <a:cxn ang="0">
                  <a:pos x="3" y="20"/>
                </a:cxn>
                <a:cxn ang="0">
                  <a:pos x="18" y="20"/>
                </a:cxn>
                <a:cxn ang="0">
                  <a:pos x="22" y="29"/>
                </a:cxn>
                <a:cxn ang="0">
                  <a:pos x="18" y="28"/>
                </a:cxn>
                <a:cxn ang="0">
                  <a:pos x="15" y="26"/>
                </a:cxn>
                <a:cxn ang="0">
                  <a:pos x="13" y="29"/>
                </a:cxn>
                <a:cxn ang="0">
                  <a:pos x="16" y="33"/>
                </a:cxn>
                <a:cxn ang="0">
                  <a:pos x="24" y="33"/>
                </a:cxn>
                <a:cxn ang="0">
                  <a:pos x="30" y="32"/>
                </a:cxn>
                <a:cxn ang="0">
                  <a:pos x="32" y="32"/>
                </a:cxn>
                <a:cxn ang="0">
                  <a:pos x="32" y="30"/>
                </a:cxn>
                <a:cxn ang="0">
                  <a:pos x="32" y="24"/>
                </a:cxn>
                <a:cxn ang="0">
                  <a:pos x="33" y="16"/>
                </a:cxn>
                <a:cxn ang="0">
                  <a:pos x="10" y="16"/>
                </a:cxn>
                <a:cxn ang="0">
                  <a:pos x="6" y="14"/>
                </a:cxn>
                <a:cxn ang="0">
                  <a:pos x="6" y="10"/>
                </a:cxn>
                <a:cxn ang="0">
                  <a:pos x="13" y="15"/>
                </a:cxn>
                <a:cxn ang="0">
                  <a:pos x="28" y="24"/>
                </a:cxn>
                <a:cxn ang="0">
                  <a:pos x="20" y="18"/>
                </a:cxn>
                <a:cxn ang="0">
                  <a:pos x="24" y="17"/>
                </a:cxn>
                <a:cxn ang="0">
                  <a:pos x="27" y="18"/>
                </a:cxn>
                <a:cxn ang="0">
                  <a:pos x="28" y="22"/>
                </a:cxn>
                <a:cxn ang="0">
                  <a:pos x="28" y="24"/>
                </a:cxn>
              </a:cxnLst>
              <a:rect l="0" t="0" r="r" b="b"/>
              <a:pathLst>
                <a:path w="34" h="34">
                  <a:moveTo>
                    <a:pt x="31" y="13"/>
                  </a:moveTo>
                  <a:cubicBezTo>
                    <a:pt x="30" y="12"/>
                    <a:pt x="28" y="12"/>
                    <a:pt x="27" y="11"/>
                  </a:cubicBezTo>
                  <a:cubicBezTo>
                    <a:pt x="26" y="11"/>
                    <a:pt x="25" y="11"/>
                    <a:pt x="23" y="11"/>
                  </a:cubicBezTo>
                  <a:cubicBezTo>
                    <a:pt x="22" y="11"/>
                    <a:pt x="21" y="11"/>
                    <a:pt x="20" y="12"/>
                  </a:cubicBezTo>
                  <a:cubicBezTo>
                    <a:pt x="18" y="12"/>
                    <a:pt x="17" y="13"/>
                    <a:pt x="16" y="13"/>
                  </a:cubicBezTo>
                  <a:cubicBezTo>
                    <a:pt x="14" y="11"/>
                    <a:pt x="12" y="9"/>
                    <a:pt x="9" y="6"/>
                  </a:cubicBezTo>
                  <a:cubicBezTo>
                    <a:pt x="10" y="6"/>
                    <a:pt x="11" y="5"/>
                    <a:pt x="12" y="5"/>
                  </a:cubicBezTo>
                  <a:cubicBezTo>
                    <a:pt x="13" y="5"/>
                    <a:pt x="14" y="5"/>
                    <a:pt x="15" y="5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8" y="6"/>
                    <a:pt x="18" y="6"/>
                    <a:pt x="19" y="5"/>
                  </a:cubicBezTo>
                  <a:cubicBezTo>
                    <a:pt x="19" y="5"/>
                    <a:pt x="20" y="4"/>
                    <a:pt x="20" y="4"/>
                  </a:cubicBezTo>
                  <a:cubicBezTo>
                    <a:pt x="20" y="3"/>
                    <a:pt x="19" y="2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1" y="0"/>
                    <a:pt x="10" y="1"/>
                    <a:pt x="9" y="1"/>
                  </a:cubicBezTo>
                  <a:cubicBezTo>
                    <a:pt x="8" y="2"/>
                    <a:pt x="7" y="2"/>
                    <a:pt x="6" y="3"/>
                  </a:cubicBezTo>
                  <a:cubicBezTo>
                    <a:pt x="6" y="3"/>
                    <a:pt x="6" y="3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2" y="8"/>
                    <a:pt x="2" y="9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8"/>
                    <a:pt x="2" y="19"/>
                    <a:pt x="3" y="20"/>
                  </a:cubicBezTo>
                  <a:cubicBezTo>
                    <a:pt x="5" y="21"/>
                    <a:pt x="7" y="22"/>
                    <a:pt x="10" y="22"/>
                  </a:cubicBezTo>
                  <a:cubicBezTo>
                    <a:pt x="12" y="22"/>
                    <a:pt x="15" y="21"/>
                    <a:pt x="18" y="20"/>
                  </a:cubicBezTo>
                  <a:cubicBezTo>
                    <a:pt x="20" y="22"/>
                    <a:pt x="22" y="25"/>
                    <a:pt x="24" y="27"/>
                  </a:cubicBezTo>
                  <a:cubicBezTo>
                    <a:pt x="24" y="28"/>
                    <a:pt x="23" y="28"/>
                    <a:pt x="22" y="29"/>
                  </a:cubicBezTo>
                  <a:cubicBezTo>
                    <a:pt x="21" y="29"/>
                    <a:pt x="21" y="29"/>
                    <a:pt x="20" y="29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7"/>
                    <a:pt x="17" y="27"/>
                    <a:pt x="17" y="27"/>
                  </a:cubicBezTo>
                  <a:cubicBezTo>
                    <a:pt x="16" y="27"/>
                    <a:pt x="16" y="26"/>
                    <a:pt x="15" y="26"/>
                  </a:cubicBezTo>
                  <a:cubicBezTo>
                    <a:pt x="15" y="26"/>
                    <a:pt x="14" y="27"/>
                    <a:pt x="14" y="27"/>
                  </a:cubicBezTo>
                  <a:cubicBezTo>
                    <a:pt x="13" y="28"/>
                    <a:pt x="13" y="28"/>
                    <a:pt x="13" y="29"/>
                  </a:cubicBezTo>
                  <a:cubicBezTo>
                    <a:pt x="13" y="30"/>
                    <a:pt x="13" y="31"/>
                    <a:pt x="14" y="31"/>
                  </a:cubicBezTo>
                  <a:cubicBezTo>
                    <a:pt x="14" y="32"/>
                    <a:pt x="15" y="33"/>
                    <a:pt x="16" y="33"/>
                  </a:cubicBezTo>
                  <a:cubicBezTo>
                    <a:pt x="17" y="34"/>
                    <a:pt x="18" y="34"/>
                    <a:pt x="20" y="34"/>
                  </a:cubicBezTo>
                  <a:cubicBezTo>
                    <a:pt x="21" y="34"/>
                    <a:pt x="22" y="34"/>
                    <a:pt x="24" y="33"/>
                  </a:cubicBezTo>
                  <a:cubicBezTo>
                    <a:pt x="25" y="33"/>
                    <a:pt x="26" y="32"/>
                    <a:pt x="28" y="31"/>
                  </a:cubicBezTo>
                  <a:cubicBezTo>
                    <a:pt x="28" y="31"/>
                    <a:pt x="29" y="32"/>
                    <a:pt x="30" y="32"/>
                  </a:cubicBezTo>
                  <a:cubicBezTo>
                    <a:pt x="30" y="33"/>
                    <a:pt x="30" y="33"/>
                    <a:pt x="31" y="33"/>
                  </a:cubicBezTo>
                  <a:cubicBezTo>
                    <a:pt x="31" y="33"/>
                    <a:pt x="32" y="33"/>
                    <a:pt x="32" y="32"/>
                  </a:cubicBezTo>
                  <a:cubicBezTo>
                    <a:pt x="32" y="32"/>
                    <a:pt x="32" y="31"/>
                    <a:pt x="32" y="31"/>
                  </a:cubicBezTo>
                  <a:cubicBezTo>
                    <a:pt x="32" y="31"/>
                    <a:pt x="32" y="30"/>
                    <a:pt x="32" y="30"/>
                  </a:cubicBezTo>
                  <a:cubicBezTo>
                    <a:pt x="31" y="30"/>
                    <a:pt x="30" y="29"/>
                    <a:pt x="30" y="28"/>
                  </a:cubicBezTo>
                  <a:cubicBezTo>
                    <a:pt x="31" y="27"/>
                    <a:pt x="32" y="26"/>
                    <a:pt x="32" y="24"/>
                  </a:cubicBezTo>
                  <a:cubicBezTo>
                    <a:pt x="33" y="23"/>
                    <a:pt x="34" y="21"/>
                    <a:pt x="34" y="20"/>
                  </a:cubicBezTo>
                  <a:cubicBezTo>
                    <a:pt x="34" y="19"/>
                    <a:pt x="34" y="17"/>
                    <a:pt x="33" y="16"/>
                  </a:cubicBezTo>
                  <a:cubicBezTo>
                    <a:pt x="33" y="15"/>
                    <a:pt x="32" y="14"/>
                    <a:pt x="31" y="13"/>
                  </a:cubicBezTo>
                  <a:close/>
                  <a:moveTo>
                    <a:pt x="10" y="16"/>
                  </a:moveTo>
                  <a:cubicBezTo>
                    <a:pt x="8" y="16"/>
                    <a:pt x="7" y="16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2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7" y="10"/>
                    <a:pt x="7" y="9"/>
                    <a:pt x="8" y="8"/>
                  </a:cubicBezTo>
                  <a:cubicBezTo>
                    <a:pt x="9" y="10"/>
                    <a:pt x="11" y="12"/>
                    <a:pt x="13" y="15"/>
                  </a:cubicBezTo>
                  <a:cubicBezTo>
                    <a:pt x="12" y="15"/>
                    <a:pt x="11" y="16"/>
                    <a:pt x="10" y="16"/>
                  </a:cubicBezTo>
                  <a:close/>
                  <a:moveTo>
                    <a:pt x="28" y="24"/>
                  </a:moveTo>
                  <a:cubicBezTo>
                    <a:pt x="27" y="24"/>
                    <a:pt x="27" y="25"/>
                    <a:pt x="26" y="25"/>
                  </a:cubicBezTo>
                  <a:cubicBezTo>
                    <a:pt x="24" y="23"/>
                    <a:pt x="22" y="21"/>
                    <a:pt x="20" y="18"/>
                  </a:cubicBezTo>
                  <a:cubicBezTo>
                    <a:pt x="21" y="18"/>
                    <a:pt x="21" y="18"/>
                    <a:pt x="22" y="18"/>
                  </a:cubicBezTo>
                  <a:cubicBezTo>
                    <a:pt x="22" y="17"/>
                    <a:pt x="23" y="17"/>
                    <a:pt x="24" y="17"/>
                  </a:cubicBezTo>
                  <a:cubicBezTo>
                    <a:pt x="24" y="17"/>
                    <a:pt x="25" y="17"/>
                    <a:pt x="25" y="17"/>
                  </a:cubicBezTo>
                  <a:cubicBezTo>
                    <a:pt x="26" y="17"/>
                    <a:pt x="27" y="18"/>
                    <a:pt x="27" y="18"/>
                  </a:cubicBezTo>
                  <a:cubicBezTo>
                    <a:pt x="28" y="19"/>
                    <a:pt x="28" y="19"/>
                    <a:pt x="28" y="20"/>
                  </a:cubicBezTo>
                  <a:cubicBezTo>
                    <a:pt x="28" y="20"/>
                    <a:pt x="28" y="21"/>
                    <a:pt x="28" y="22"/>
                  </a:cubicBezTo>
                  <a:cubicBezTo>
                    <a:pt x="28" y="22"/>
                    <a:pt x="28" y="23"/>
                    <a:pt x="28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4"/>
                    <a:pt x="28" y="2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  <p:sp>
          <p:nvSpPr>
            <p:cNvPr id="45" name="Freeform 7"/>
            <p:cNvSpPr>
              <a:spLocks noEditPoints="1"/>
            </p:cNvSpPr>
            <p:nvPr/>
          </p:nvSpPr>
          <p:spPr bwMode="auto">
            <a:xfrm>
              <a:off x="117475" y="1457326"/>
              <a:ext cx="55563" cy="55563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8" y="6"/>
                </a:cxn>
                <a:cxn ang="0">
                  <a:pos x="3" y="13"/>
                </a:cxn>
                <a:cxn ang="0">
                  <a:pos x="0" y="16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4" y="18"/>
                </a:cxn>
                <a:cxn ang="0">
                  <a:pos x="6" y="15"/>
                </a:cxn>
                <a:cxn ang="0">
                  <a:pos x="11" y="9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18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5" y="0"/>
                </a:cxn>
              </a:cxnLst>
              <a:rect l="0" t="0" r="r" b="b"/>
              <a:pathLst>
                <a:path w="19" h="19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3" y="2"/>
                    <a:pt x="11" y="4"/>
                    <a:pt x="8" y="6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1" y="19"/>
                    <a:pt x="2" y="19"/>
                    <a:pt x="3" y="19"/>
                  </a:cubicBezTo>
                  <a:cubicBezTo>
                    <a:pt x="3" y="19"/>
                    <a:pt x="3" y="18"/>
                    <a:pt x="4" y="18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3"/>
                    <a:pt x="9" y="11"/>
                    <a:pt x="11" y="9"/>
                  </a:cubicBezTo>
                  <a:cubicBezTo>
                    <a:pt x="13" y="7"/>
                    <a:pt x="15" y="5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6" y="0"/>
                    <a:pt x="15" y="0"/>
                  </a:cubicBezTo>
                  <a:close/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/>
          </p:nvSpPr>
          <p:spPr bwMode="auto">
            <a:xfrm>
              <a:off x="180975" y="1263651"/>
              <a:ext cx="55563" cy="58738"/>
            </a:xfrm>
            <a:custGeom>
              <a:avLst/>
              <a:gdLst/>
              <a:ahLst/>
              <a:cxnLst>
                <a:cxn ang="0">
                  <a:pos x="7" y="11"/>
                </a:cxn>
                <a:cxn ang="0">
                  <a:pos x="1" y="16"/>
                </a:cxn>
                <a:cxn ang="0">
                  <a:pos x="1" y="17"/>
                </a:cxn>
                <a:cxn ang="0">
                  <a:pos x="1" y="19"/>
                </a:cxn>
                <a:cxn ang="0">
                  <a:pos x="3" y="19"/>
                </a:cxn>
                <a:cxn ang="0">
                  <a:pos x="3" y="19"/>
                </a:cxn>
                <a:cxn ang="0">
                  <a:pos x="10" y="13"/>
                </a:cxn>
                <a:cxn ang="0">
                  <a:pos x="16" y="7"/>
                </a:cxn>
                <a:cxn ang="0">
                  <a:pos x="18" y="3"/>
                </a:cxn>
                <a:cxn ang="0">
                  <a:pos x="18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7" y="11"/>
                </a:cxn>
                <a:cxn ang="0">
                  <a:pos x="7" y="11"/>
                </a:cxn>
                <a:cxn ang="0">
                  <a:pos x="7" y="11"/>
                </a:cxn>
              </a:cxnLst>
              <a:rect l="0" t="0" r="r" b="b"/>
              <a:pathLst>
                <a:path w="19" h="20">
                  <a:moveTo>
                    <a:pt x="7" y="11"/>
                  </a:moveTo>
                  <a:cubicBezTo>
                    <a:pt x="5" y="13"/>
                    <a:pt x="3" y="15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7"/>
                    <a:pt x="0" y="19"/>
                    <a:pt x="1" y="19"/>
                  </a:cubicBezTo>
                  <a:cubicBezTo>
                    <a:pt x="1" y="20"/>
                    <a:pt x="2" y="20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6" y="18"/>
                    <a:pt x="8" y="16"/>
                    <a:pt x="10" y="13"/>
                  </a:cubicBezTo>
                  <a:cubicBezTo>
                    <a:pt x="12" y="11"/>
                    <a:pt x="14" y="9"/>
                    <a:pt x="16" y="7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1"/>
                    <a:pt x="18" y="1"/>
                  </a:cubicBezTo>
                  <a:cubicBezTo>
                    <a:pt x="17" y="0"/>
                    <a:pt x="16" y="0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1" y="7"/>
                    <a:pt x="9" y="9"/>
                    <a:pt x="7" y="11"/>
                  </a:cubicBezTo>
                  <a:close/>
                  <a:moveTo>
                    <a:pt x="7" y="11"/>
                  </a:moveTo>
                  <a:cubicBezTo>
                    <a:pt x="7" y="11"/>
                    <a:pt x="7" y="11"/>
                    <a:pt x="7" y="1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  <a:ea typeface="+mn-ea"/>
              </a:endParaRPr>
            </a:p>
          </p:txBody>
        </p:sp>
      </p:grpSp>
      <p:grpSp>
        <p:nvGrpSpPr>
          <p:cNvPr id="47" name="Group 170">
            <a:extLst>
              <a:ext uri="{FF2B5EF4-FFF2-40B4-BE49-F238E27FC236}">
                <a16:creationId xmlns:a16="http://schemas.microsoft.com/office/drawing/2014/main" id="{5F54998A-0A45-42EB-B8A5-6A83394158E2}"/>
              </a:ext>
            </a:extLst>
          </p:cNvPr>
          <p:cNvGrpSpPr/>
          <p:nvPr/>
        </p:nvGrpSpPr>
        <p:grpSpPr>
          <a:xfrm>
            <a:off x="1702056" y="2136705"/>
            <a:ext cx="399697" cy="401466"/>
            <a:chOff x="4019550" y="3568701"/>
            <a:chExt cx="358775" cy="360363"/>
          </a:xfrm>
          <a:solidFill>
            <a:srgbClr val="FFFFFF"/>
          </a:solidFill>
        </p:grpSpPr>
        <p:sp>
          <p:nvSpPr>
            <p:cNvPr id="48" name="Freeform 105">
              <a:extLst>
                <a:ext uri="{FF2B5EF4-FFF2-40B4-BE49-F238E27FC236}">
                  <a16:creationId xmlns:a16="http://schemas.microsoft.com/office/drawing/2014/main" id="{C628393B-CBE4-44C6-9EF2-9269BE0A6B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19550" y="3568701"/>
              <a:ext cx="358775" cy="360363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31" y="46"/>
                </a:cxn>
                <a:cxn ang="0">
                  <a:pos x="36" y="68"/>
                </a:cxn>
                <a:cxn ang="0">
                  <a:pos x="4" y="100"/>
                </a:cxn>
                <a:cxn ang="0">
                  <a:pos x="4" y="100"/>
                </a:cxn>
                <a:cxn ang="0">
                  <a:pos x="0" y="109"/>
                </a:cxn>
                <a:cxn ang="0">
                  <a:pos x="13" y="123"/>
                </a:cxn>
                <a:cxn ang="0">
                  <a:pos x="23" y="119"/>
                </a:cxn>
                <a:cxn ang="0">
                  <a:pos x="23" y="119"/>
                </a:cxn>
                <a:cxn ang="0">
                  <a:pos x="55" y="87"/>
                </a:cxn>
                <a:cxn ang="0">
                  <a:pos x="77" y="92"/>
                </a:cxn>
                <a:cxn ang="0">
                  <a:pos x="123" y="46"/>
                </a:cxn>
                <a:cxn ang="0">
                  <a:pos x="77" y="0"/>
                </a:cxn>
                <a:cxn ang="0">
                  <a:pos x="18" y="114"/>
                </a:cxn>
                <a:cxn ang="0">
                  <a:pos x="13" y="116"/>
                </a:cxn>
                <a:cxn ang="0">
                  <a:pos x="7" y="109"/>
                </a:cxn>
                <a:cxn ang="0">
                  <a:pos x="9" y="104"/>
                </a:cxn>
                <a:cxn ang="0">
                  <a:pos x="9" y="104"/>
                </a:cxn>
                <a:cxn ang="0">
                  <a:pos x="40" y="73"/>
                </a:cxn>
                <a:cxn ang="0">
                  <a:pos x="49" y="83"/>
                </a:cxn>
                <a:cxn ang="0">
                  <a:pos x="18" y="114"/>
                </a:cxn>
                <a:cxn ang="0">
                  <a:pos x="77" y="84"/>
                </a:cxn>
                <a:cxn ang="0">
                  <a:pos x="38" y="46"/>
                </a:cxn>
                <a:cxn ang="0">
                  <a:pos x="77" y="8"/>
                </a:cxn>
                <a:cxn ang="0">
                  <a:pos x="115" y="46"/>
                </a:cxn>
                <a:cxn ang="0">
                  <a:pos x="77" y="84"/>
                </a:cxn>
                <a:cxn ang="0">
                  <a:pos x="77" y="84"/>
                </a:cxn>
                <a:cxn ang="0">
                  <a:pos x="77" y="84"/>
                </a:cxn>
              </a:cxnLst>
              <a:rect l="0" t="0" r="r" b="b"/>
              <a:pathLst>
                <a:path w="123" h="123">
                  <a:moveTo>
                    <a:pt x="77" y="0"/>
                  </a:moveTo>
                  <a:cubicBezTo>
                    <a:pt x="51" y="0"/>
                    <a:pt x="31" y="21"/>
                    <a:pt x="31" y="46"/>
                  </a:cubicBezTo>
                  <a:cubicBezTo>
                    <a:pt x="31" y="54"/>
                    <a:pt x="33" y="61"/>
                    <a:pt x="36" y="68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2" y="102"/>
                    <a:pt x="0" y="105"/>
                    <a:pt x="0" y="109"/>
                  </a:cubicBezTo>
                  <a:cubicBezTo>
                    <a:pt x="0" y="117"/>
                    <a:pt x="6" y="123"/>
                    <a:pt x="13" y="123"/>
                  </a:cubicBezTo>
                  <a:cubicBezTo>
                    <a:pt x="17" y="123"/>
                    <a:pt x="21" y="121"/>
                    <a:pt x="23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2" y="90"/>
                    <a:pt x="69" y="92"/>
                    <a:pt x="77" y="92"/>
                  </a:cubicBezTo>
                  <a:cubicBezTo>
                    <a:pt x="102" y="92"/>
                    <a:pt x="123" y="71"/>
                    <a:pt x="123" y="46"/>
                  </a:cubicBezTo>
                  <a:cubicBezTo>
                    <a:pt x="123" y="21"/>
                    <a:pt x="102" y="0"/>
                    <a:pt x="77" y="0"/>
                  </a:cubicBezTo>
                  <a:close/>
                  <a:moveTo>
                    <a:pt x="18" y="114"/>
                  </a:moveTo>
                  <a:cubicBezTo>
                    <a:pt x="17" y="115"/>
                    <a:pt x="15" y="116"/>
                    <a:pt x="13" y="116"/>
                  </a:cubicBezTo>
                  <a:cubicBezTo>
                    <a:pt x="10" y="116"/>
                    <a:pt x="7" y="113"/>
                    <a:pt x="7" y="109"/>
                  </a:cubicBezTo>
                  <a:cubicBezTo>
                    <a:pt x="7" y="107"/>
                    <a:pt x="8" y="106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2" y="77"/>
                    <a:pt x="46" y="80"/>
                    <a:pt x="49" y="83"/>
                  </a:cubicBezTo>
                  <a:lnTo>
                    <a:pt x="18" y="114"/>
                  </a:lnTo>
                  <a:close/>
                  <a:moveTo>
                    <a:pt x="77" y="84"/>
                  </a:moveTo>
                  <a:cubicBezTo>
                    <a:pt x="55" y="84"/>
                    <a:pt x="38" y="67"/>
                    <a:pt x="38" y="46"/>
                  </a:cubicBezTo>
                  <a:cubicBezTo>
                    <a:pt x="38" y="25"/>
                    <a:pt x="55" y="8"/>
                    <a:pt x="77" y="8"/>
                  </a:cubicBezTo>
                  <a:cubicBezTo>
                    <a:pt x="98" y="8"/>
                    <a:pt x="115" y="25"/>
                    <a:pt x="115" y="46"/>
                  </a:cubicBezTo>
                  <a:cubicBezTo>
                    <a:pt x="115" y="67"/>
                    <a:pt x="98" y="84"/>
                    <a:pt x="77" y="84"/>
                  </a:cubicBezTo>
                  <a:close/>
                  <a:moveTo>
                    <a:pt x="77" y="84"/>
                  </a:moveTo>
                  <a:cubicBezTo>
                    <a:pt x="77" y="84"/>
                    <a:pt x="77" y="84"/>
                    <a:pt x="77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9" name="Freeform 106">
              <a:extLst>
                <a:ext uri="{FF2B5EF4-FFF2-40B4-BE49-F238E27FC236}">
                  <a16:creationId xmlns:a16="http://schemas.microsoft.com/office/drawing/2014/main" id="{1B838056-1D94-43C4-A4A9-F325FD1FA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5600" y="3624263"/>
              <a:ext cx="84138" cy="85725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0" y="27"/>
                </a:cxn>
                <a:cxn ang="0">
                  <a:pos x="2" y="29"/>
                </a:cxn>
                <a:cxn ang="0">
                  <a:pos x="4" y="27"/>
                </a:cxn>
                <a:cxn ang="0">
                  <a:pos x="27" y="4"/>
                </a:cxn>
                <a:cxn ang="0">
                  <a:pos x="29" y="2"/>
                </a:cxn>
                <a:cxn ang="0">
                  <a:pos x="27" y="0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29" h="29"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3" y="29"/>
                    <a:pt x="4" y="28"/>
                    <a:pt x="4" y="27"/>
                  </a:cubicBezTo>
                  <a:cubicBezTo>
                    <a:pt x="4" y="14"/>
                    <a:pt x="14" y="4"/>
                    <a:pt x="27" y="4"/>
                  </a:cubicBezTo>
                  <a:cubicBezTo>
                    <a:pt x="28" y="4"/>
                    <a:pt x="29" y="3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lose/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</p:grpSp>
      <p:grpSp>
        <p:nvGrpSpPr>
          <p:cNvPr id="52" name="Group 167">
            <a:extLst>
              <a:ext uri="{FF2B5EF4-FFF2-40B4-BE49-F238E27FC236}">
                <a16:creationId xmlns:a16="http://schemas.microsoft.com/office/drawing/2014/main" id="{44FA3F91-BCCF-48D9-8B3F-2DCAF71278A3}"/>
              </a:ext>
            </a:extLst>
          </p:cNvPr>
          <p:cNvGrpSpPr/>
          <p:nvPr/>
        </p:nvGrpSpPr>
        <p:grpSpPr>
          <a:xfrm>
            <a:off x="1702056" y="3063949"/>
            <a:ext cx="396160" cy="401466"/>
            <a:chOff x="3036888" y="1909763"/>
            <a:chExt cx="355600" cy="360363"/>
          </a:xfrm>
          <a:solidFill>
            <a:srgbClr val="FFFFFF"/>
          </a:solidFill>
        </p:grpSpPr>
        <p:sp>
          <p:nvSpPr>
            <p:cNvPr id="53" name="Freeform 76">
              <a:extLst>
                <a:ext uri="{FF2B5EF4-FFF2-40B4-BE49-F238E27FC236}">
                  <a16:creationId xmlns:a16="http://schemas.microsoft.com/office/drawing/2014/main" id="{2615EF65-6EAD-4E22-A9F7-C55B43BD40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36888" y="1909763"/>
              <a:ext cx="355600" cy="360363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46" y="38"/>
                </a:cxn>
                <a:cxn ang="0">
                  <a:pos x="48" y="52"/>
                </a:cxn>
                <a:cxn ang="0">
                  <a:pos x="2" y="99"/>
                </a:cxn>
                <a:cxn ang="0">
                  <a:pos x="0" y="103"/>
                </a:cxn>
                <a:cxn ang="0">
                  <a:pos x="0" y="115"/>
                </a:cxn>
                <a:cxn ang="0">
                  <a:pos x="7" y="123"/>
                </a:cxn>
                <a:cxn ang="0">
                  <a:pos x="19" y="123"/>
                </a:cxn>
                <a:cxn ang="0">
                  <a:pos x="24" y="120"/>
                </a:cxn>
                <a:cxn ang="0">
                  <a:pos x="29" y="115"/>
                </a:cxn>
                <a:cxn ang="0">
                  <a:pos x="38" y="115"/>
                </a:cxn>
                <a:cxn ang="0">
                  <a:pos x="46" y="107"/>
                </a:cxn>
                <a:cxn ang="0">
                  <a:pos x="46" y="100"/>
                </a:cxn>
                <a:cxn ang="0">
                  <a:pos x="53" y="100"/>
                </a:cxn>
                <a:cxn ang="0">
                  <a:pos x="61" y="92"/>
                </a:cxn>
                <a:cxn ang="0">
                  <a:pos x="61" y="83"/>
                </a:cxn>
                <a:cxn ang="0">
                  <a:pos x="70" y="74"/>
                </a:cxn>
                <a:cxn ang="0">
                  <a:pos x="84" y="77"/>
                </a:cxn>
                <a:cxn ang="0">
                  <a:pos x="122" y="38"/>
                </a:cxn>
                <a:cxn ang="0">
                  <a:pos x="84" y="0"/>
                </a:cxn>
                <a:cxn ang="0">
                  <a:pos x="84" y="69"/>
                </a:cxn>
                <a:cxn ang="0">
                  <a:pos x="69" y="65"/>
                </a:cxn>
                <a:cxn ang="0">
                  <a:pos x="67" y="66"/>
                </a:cxn>
                <a:cxn ang="0">
                  <a:pos x="63" y="70"/>
                </a:cxn>
                <a:cxn ang="0">
                  <a:pos x="56" y="77"/>
                </a:cxn>
                <a:cxn ang="0">
                  <a:pos x="53" y="83"/>
                </a:cxn>
                <a:cxn ang="0">
                  <a:pos x="53" y="92"/>
                </a:cxn>
                <a:cxn ang="0">
                  <a:pos x="46" y="92"/>
                </a:cxn>
                <a:cxn ang="0">
                  <a:pos x="38" y="100"/>
                </a:cxn>
                <a:cxn ang="0">
                  <a:pos x="38" y="107"/>
                </a:cxn>
                <a:cxn ang="0">
                  <a:pos x="29" y="107"/>
                </a:cxn>
                <a:cxn ang="0">
                  <a:pos x="24" y="109"/>
                </a:cxn>
                <a:cxn ang="0">
                  <a:pos x="18" y="115"/>
                </a:cxn>
                <a:cxn ang="0">
                  <a:pos x="7" y="115"/>
                </a:cxn>
                <a:cxn ang="0">
                  <a:pos x="7" y="104"/>
                </a:cxn>
                <a:cxn ang="0">
                  <a:pos x="52" y="59"/>
                </a:cxn>
                <a:cxn ang="0">
                  <a:pos x="52" y="59"/>
                </a:cxn>
                <a:cxn ang="0">
                  <a:pos x="58" y="54"/>
                </a:cxn>
                <a:cxn ang="0">
                  <a:pos x="53" y="38"/>
                </a:cxn>
                <a:cxn ang="0">
                  <a:pos x="84" y="7"/>
                </a:cxn>
                <a:cxn ang="0">
                  <a:pos x="115" y="38"/>
                </a:cxn>
                <a:cxn ang="0">
                  <a:pos x="84" y="69"/>
                </a:cxn>
                <a:cxn ang="0">
                  <a:pos x="84" y="69"/>
                </a:cxn>
                <a:cxn ang="0">
                  <a:pos x="84" y="69"/>
                </a:cxn>
              </a:cxnLst>
              <a:rect l="0" t="0" r="r" b="b"/>
              <a:pathLst>
                <a:path w="122" h="123">
                  <a:moveTo>
                    <a:pt x="84" y="0"/>
                  </a:moveTo>
                  <a:cubicBezTo>
                    <a:pt x="63" y="0"/>
                    <a:pt x="46" y="17"/>
                    <a:pt x="46" y="38"/>
                  </a:cubicBezTo>
                  <a:cubicBezTo>
                    <a:pt x="46" y="43"/>
                    <a:pt x="47" y="48"/>
                    <a:pt x="48" y="52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00"/>
                    <a:pt x="0" y="101"/>
                    <a:pt x="0" y="103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9"/>
                    <a:pt x="3" y="123"/>
                    <a:pt x="7" y="123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21" y="123"/>
                    <a:pt x="22" y="122"/>
                    <a:pt x="24" y="120"/>
                  </a:cubicBezTo>
                  <a:cubicBezTo>
                    <a:pt x="29" y="115"/>
                    <a:pt x="29" y="115"/>
                    <a:pt x="29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42" y="115"/>
                    <a:pt x="46" y="111"/>
                    <a:pt x="46" y="107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8" y="100"/>
                    <a:pt x="61" y="96"/>
                    <a:pt x="61" y="9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4" y="76"/>
                    <a:pt x="79" y="77"/>
                    <a:pt x="84" y="77"/>
                  </a:cubicBezTo>
                  <a:cubicBezTo>
                    <a:pt x="105" y="77"/>
                    <a:pt x="122" y="59"/>
                    <a:pt x="122" y="38"/>
                  </a:cubicBezTo>
                  <a:cubicBezTo>
                    <a:pt x="122" y="17"/>
                    <a:pt x="105" y="0"/>
                    <a:pt x="84" y="0"/>
                  </a:cubicBezTo>
                  <a:close/>
                  <a:moveTo>
                    <a:pt x="84" y="69"/>
                  </a:moveTo>
                  <a:cubicBezTo>
                    <a:pt x="78" y="69"/>
                    <a:pt x="73" y="67"/>
                    <a:pt x="69" y="65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4" y="79"/>
                    <a:pt x="53" y="81"/>
                    <a:pt x="53" y="83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1" y="92"/>
                    <a:pt x="38" y="95"/>
                    <a:pt x="38" y="100"/>
                  </a:cubicBezTo>
                  <a:cubicBezTo>
                    <a:pt x="38" y="107"/>
                    <a:pt x="38" y="107"/>
                    <a:pt x="38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7" y="107"/>
                    <a:pt x="25" y="108"/>
                    <a:pt x="24" y="109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5" y="49"/>
                    <a:pt x="53" y="44"/>
                    <a:pt x="53" y="38"/>
                  </a:cubicBezTo>
                  <a:cubicBezTo>
                    <a:pt x="53" y="21"/>
                    <a:pt x="67" y="7"/>
                    <a:pt x="84" y="7"/>
                  </a:cubicBezTo>
                  <a:cubicBezTo>
                    <a:pt x="101" y="7"/>
                    <a:pt x="115" y="21"/>
                    <a:pt x="115" y="38"/>
                  </a:cubicBezTo>
                  <a:cubicBezTo>
                    <a:pt x="115" y="55"/>
                    <a:pt x="101" y="69"/>
                    <a:pt x="84" y="69"/>
                  </a:cubicBezTo>
                  <a:close/>
                  <a:moveTo>
                    <a:pt x="84" y="69"/>
                  </a:moveTo>
                  <a:cubicBezTo>
                    <a:pt x="84" y="69"/>
                    <a:pt x="84" y="69"/>
                    <a:pt x="84" y="6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54" name="Freeform 77">
              <a:extLst>
                <a:ext uri="{FF2B5EF4-FFF2-40B4-BE49-F238E27FC236}">
                  <a16:creationId xmlns:a16="http://schemas.microsoft.com/office/drawing/2014/main" id="{2FC569BF-90C1-4705-98FE-143C146498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9138" y="1952626"/>
              <a:ext cx="90488" cy="92075"/>
            </a:xfrm>
            <a:custGeom>
              <a:avLst/>
              <a:gdLst/>
              <a:ahLst/>
              <a:cxnLst>
                <a:cxn ang="0">
                  <a:pos x="30" y="16"/>
                </a:cxn>
                <a:cxn ang="0">
                  <a:pos x="15" y="1"/>
                </a:cxn>
                <a:cxn ang="0">
                  <a:pos x="11" y="0"/>
                </a:cxn>
                <a:cxn ang="0">
                  <a:pos x="1" y="11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17" y="30"/>
                </a:cxn>
                <a:cxn ang="0">
                  <a:pos x="20" y="31"/>
                </a:cxn>
                <a:cxn ang="0">
                  <a:pos x="31" y="20"/>
                </a:cxn>
                <a:cxn ang="0">
                  <a:pos x="31" y="19"/>
                </a:cxn>
                <a:cxn ang="0">
                  <a:pos x="30" y="16"/>
                </a:cxn>
                <a:cxn ang="0">
                  <a:pos x="19" y="27"/>
                </a:cxn>
                <a:cxn ang="0">
                  <a:pos x="4" y="13"/>
                </a:cxn>
                <a:cxn ang="0">
                  <a:pos x="13" y="4"/>
                </a:cxn>
                <a:cxn ang="0">
                  <a:pos x="27" y="19"/>
                </a:cxn>
                <a:cxn ang="0">
                  <a:pos x="19" y="27"/>
                </a:cxn>
                <a:cxn ang="0">
                  <a:pos x="19" y="27"/>
                </a:cxn>
                <a:cxn ang="0">
                  <a:pos x="19" y="27"/>
                </a:cxn>
              </a:cxnLst>
              <a:rect l="0" t="0" r="r" b="b"/>
              <a:pathLst>
                <a:path w="31" h="31">
                  <a:moveTo>
                    <a:pt x="30" y="16"/>
                  </a:moveTo>
                  <a:cubicBezTo>
                    <a:pt x="26" y="10"/>
                    <a:pt x="21" y="5"/>
                    <a:pt x="15" y="1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6" y="2"/>
                    <a:pt x="2" y="6"/>
                    <a:pt x="1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1" y="14"/>
                    <a:pt x="1" y="15"/>
                  </a:cubicBezTo>
                  <a:cubicBezTo>
                    <a:pt x="5" y="21"/>
                    <a:pt x="11" y="26"/>
                    <a:pt x="17" y="30"/>
                  </a:cubicBezTo>
                  <a:cubicBezTo>
                    <a:pt x="18" y="31"/>
                    <a:pt x="19" y="31"/>
                    <a:pt x="20" y="31"/>
                  </a:cubicBezTo>
                  <a:cubicBezTo>
                    <a:pt x="25" y="29"/>
                    <a:pt x="29" y="25"/>
                    <a:pt x="31" y="20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8"/>
                    <a:pt x="31" y="17"/>
                    <a:pt x="30" y="16"/>
                  </a:cubicBezTo>
                  <a:close/>
                  <a:moveTo>
                    <a:pt x="19" y="27"/>
                  </a:moveTo>
                  <a:cubicBezTo>
                    <a:pt x="13" y="23"/>
                    <a:pt x="8" y="18"/>
                    <a:pt x="4" y="13"/>
                  </a:cubicBezTo>
                  <a:cubicBezTo>
                    <a:pt x="6" y="8"/>
                    <a:pt x="8" y="6"/>
                    <a:pt x="13" y="4"/>
                  </a:cubicBezTo>
                  <a:cubicBezTo>
                    <a:pt x="18" y="8"/>
                    <a:pt x="23" y="13"/>
                    <a:pt x="27" y="19"/>
                  </a:cubicBezTo>
                  <a:cubicBezTo>
                    <a:pt x="26" y="23"/>
                    <a:pt x="23" y="26"/>
                    <a:pt x="19" y="27"/>
                  </a:cubicBezTo>
                  <a:close/>
                  <a:moveTo>
                    <a:pt x="19" y="27"/>
                  </a:moveTo>
                  <a:cubicBezTo>
                    <a:pt x="19" y="27"/>
                    <a:pt x="19" y="27"/>
                    <a:pt x="19" y="2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</p:grpSp>
      <p:sp>
        <p:nvSpPr>
          <p:cNvPr id="55" name="Freeform 90">
            <a:extLst>
              <a:ext uri="{FF2B5EF4-FFF2-40B4-BE49-F238E27FC236}">
                <a16:creationId xmlns:a16="http://schemas.microsoft.com/office/drawing/2014/main" id="{578DF6AC-E94D-4042-BFBD-4939782E929D}"/>
              </a:ext>
            </a:extLst>
          </p:cNvPr>
          <p:cNvSpPr>
            <a:spLocks noEditPoints="1"/>
          </p:cNvSpPr>
          <p:nvPr/>
        </p:nvSpPr>
        <p:spPr bwMode="auto">
          <a:xfrm>
            <a:off x="1710813" y="1226377"/>
            <a:ext cx="401637" cy="401637"/>
          </a:xfrm>
          <a:custGeom>
            <a:avLst/>
            <a:gdLst>
              <a:gd name="T0" fmla="*/ 251431 w 123"/>
              <a:gd name="T1" fmla="*/ 45715 h 123"/>
              <a:gd name="T2" fmla="*/ 166532 w 123"/>
              <a:gd name="T3" fmla="*/ 111022 h 123"/>
              <a:gd name="T4" fmla="*/ 0 w 123"/>
              <a:gd name="T5" fmla="*/ 176328 h 123"/>
              <a:gd name="T6" fmla="*/ 75103 w 123"/>
              <a:gd name="T7" fmla="*/ 261227 h 123"/>
              <a:gd name="T8" fmla="*/ 101226 w 123"/>
              <a:gd name="T9" fmla="*/ 401637 h 123"/>
              <a:gd name="T10" fmla="*/ 176328 w 123"/>
              <a:gd name="T11" fmla="*/ 375514 h 123"/>
              <a:gd name="T12" fmla="*/ 163267 w 123"/>
              <a:gd name="T13" fmla="*/ 336330 h 123"/>
              <a:gd name="T14" fmla="*/ 163267 w 123"/>
              <a:gd name="T15" fmla="*/ 248166 h 123"/>
              <a:gd name="T16" fmla="*/ 166532 w 123"/>
              <a:gd name="T17" fmla="*/ 241635 h 123"/>
              <a:gd name="T18" fmla="*/ 169798 w 123"/>
              <a:gd name="T19" fmla="*/ 238370 h 123"/>
              <a:gd name="T20" fmla="*/ 173063 w 123"/>
              <a:gd name="T21" fmla="*/ 238370 h 123"/>
              <a:gd name="T22" fmla="*/ 251431 w 123"/>
              <a:gd name="T23" fmla="*/ 306942 h 123"/>
              <a:gd name="T24" fmla="*/ 401637 w 123"/>
              <a:gd name="T25" fmla="*/ 176328 h 123"/>
              <a:gd name="T26" fmla="*/ 251431 w 123"/>
              <a:gd name="T27" fmla="*/ 176328 h 123"/>
              <a:gd name="T28" fmla="*/ 287350 w 123"/>
              <a:gd name="T29" fmla="*/ 137144 h 123"/>
              <a:gd name="T30" fmla="*/ 287350 w 123"/>
              <a:gd name="T31" fmla="*/ 212247 h 123"/>
              <a:gd name="T32" fmla="*/ 251431 w 123"/>
              <a:gd name="T33" fmla="*/ 176328 h 123"/>
              <a:gd name="T34" fmla="*/ 48980 w 123"/>
              <a:gd name="T35" fmla="*/ 137144 h 123"/>
              <a:gd name="T36" fmla="*/ 124083 w 123"/>
              <a:gd name="T37" fmla="*/ 176328 h 123"/>
              <a:gd name="T38" fmla="*/ 48980 w 123"/>
              <a:gd name="T39" fmla="*/ 212247 h 123"/>
              <a:gd name="T40" fmla="*/ 150206 w 123"/>
              <a:gd name="T41" fmla="*/ 375514 h 123"/>
              <a:gd name="T42" fmla="*/ 101226 w 123"/>
              <a:gd name="T43" fmla="*/ 261227 h 123"/>
              <a:gd name="T44" fmla="*/ 101226 w 123"/>
              <a:gd name="T45" fmla="*/ 238370 h 123"/>
              <a:gd name="T46" fmla="*/ 140410 w 123"/>
              <a:gd name="T47" fmla="*/ 238370 h 123"/>
              <a:gd name="T48" fmla="*/ 137144 w 123"/>
              <a:gd name="T49" fmla="*/ 336330 h 123"/>
              <a:gd name="T50" fmla="*/ 150206 w 123"/>
              <a:gd name="T51" fmla="*/ 365718 h 123"/>
              <a:gd name="T52" fmla="*/ 166532 w 123"/>
              <a:gd name="T53" fmla="*/ 212247 h 123"/>
              <a:gd name="T54" fmla="*/ 163267 w 123"/>
              <a:gd name="T55" fmla="*/ 212247 h 123"/>
              <a:gd name="T56" fmla="*/ 163267 w 123"/>
              <a:gd name="T57" fmla="*/ 137144 h 123"/>
              <a:gd name="T58" fmla="*/ 231839 w 123"/>
              <a:gd name="T59" fmla="*/ 111022 h 123"/>
              <a:gd name="T60" fmla="*/ 231839 w 123"/>
              <a:gd name="T61" fmla="*/ 238370 h 123"/>
              <a:gd name="T62" fmla="*/ 313473 w 123"/>
              <a:gd name="T63" fmla="*/ 326534 h 123"/>
              <a:gd name="T64" fmla="*/ 287350 w 123"/>
              <a:gd name="T65" fmla="*/ 238370 h 123"/>
              <a:gd name="T66" fmla="*/ 287350 w 123"/>
              <a:gd name="T67" fmla="*/ 111022 h 123"/>
              <a:gd name="T68" fmla="*/ 313473 w 123"/>
              <a:gd name="T69" fmla="*/ 26123 h 123"/>
              <a:gd name="T70" fmla="*/ 313473 w 123"/>
              <a:gd name="T71" fmla="*/ 326534 h 123"/>
              <a:gd name="T72" fmla="*/ 313473 w 123"/>
              <a:gd name="T73" fmla="*/ 326534 h 12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3" h="123">
                <a:moveTo>
                  <a:pt x="96" y="0"/>
                </a:moveTo>
                <a:cubicBezTo>
                  <a:pt x="88" y="0"/>
                  <a:pt x="82" y="5"/>
                  <a:pt x="77" y="14"/>
                </a:cubicBezTo>
                <a:cubicBezTo>
                  <a:pt x="77" y="14"/>
                  <a:pt x="77" y="14"/>
                  <a:pt x="77" y="14"/>
                </a:cubicBezTo>
                <a:cubicBezTo>
                  <a:pt x="71" y="26"/>
                  <a:pt x="61" y="34"/>
                  <a:pt x="51" y="34"/>
                </a:cubicBezTo>
                <a:cubicBezTo>
                  <a:pt x="15" y="34"/>
                  <a:pt x="15" y="34"/>
                  <a:pt x="15" y="34"/>
                </a:cubicBezTo>
                <a:cubicBezTo>
                  <a:pt x="7" y="34"/>
                  <a:pt x="0" y="43"/>
                  <a:pt x="0" y="54"/>
                </a:cubicBezTo>
                <a:cubicBezTo>
                  <a:pt x="0" y="64"/>
                  <a:pt x="7" y="73"/>
                  <a:pt x="15" y="73"/>
                </a:cubicBezTo>
                <a:cubicBezTo>
                  <a:pt x="20" y="73"/>
                  <a:pt x="23" y="76"/>
                  <a:pt x="23" y="80"/>
                </a:cubicBezTo>
                <a:cubicBezTo>
                  <a:pt x="23" y="115"/>
                  <a:pt x="23" y="115"/>
                  <a:pt x="23" y="115"/>
                </a:cubicBezTo>
                <a:cubicBezTo>
                  <a:pt x="23" y="119"/>
                  <a:pt x="26" y="123"/>
                  <a:pt x="31" y="123"/>
                </a:cubicBezTo>
                <a:cubicBezTo>
                  <a:pt x="46" y="123"/>
                  <a:pt x="46" y="123"/>
                  <a:pt x="46" y="123"/>
                </a:cubicBezTo>
                <a:cubicBezTo>
                  <a:pt x="50" y="123"/>
                  <a:pt x="54" y="119"/>
                  <a:pt x="54" y="115"/>
                </a:cubicBezTo>
                <a:cubicBezTo>
                  <a:pt x="54" y="111"/>
                  <a:pt x="54" y="111"/>
                  <a:pt x="54" y="111"/>
                </a:cubicBezTo>
                <a:cubicBezTo>
                  <a:pt x="54" y="107"/>
                  <a:pt x="50" y="106"/>
                  <a:pt x="50" y="103"/>
                </a:cubicBezTo>
                <a:cubicBezTo>
                  <a:pt x="50" y="77"/>
                  <a:pt x="50" y="77"/>
                  <a:pt x="50" y="77"/>
                </a:cubicBezTo>
                <a:cubicBezTo>
                  <a:pt x="50" y="76"/>
                  <a:pt x="50" y="76"/>
                  <a:pt x="50" y="76"/>
                </a:cubicBezTo>
                <a:cubicBezTo>
                  <a:pt x="50" y="76"/>
                  <a:pt x="50" y="75"/>
                  <a:pt x="50" y="75"/>
                </a:cubicBezTo>
                <a:cubicBezTo>
                  <a:pt x="50" y="75"/>
                  <a:pt x="51" y="75"/>
                  <a:pt x="51" y="74"/>
                </a:cubicBezTo>
                <a:cubicBezTo>
                  <a:pt x="51" y="74"/>
                  <a:pt x="51" y="74"/>
                  <a:pt x="52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52" y="73"/>
                  <a:pt x="53" y="73"/>
                  <a:pt x="53" y="73"/>
                </a:cubicBezTo>
                <a:cubicBezTo>
                  <a:pt x="63" y="74"/>
                  <a:pt x="71" y="82"/>
                  <a:pt x="77" y="94"/>
                </a:cubicBezTo>
                <a:cubicBezTo>
                  <a:pt x="77" y="94"/>
                  <a:pt x="77" y="94"/>
                  <a:pt x="77" y="94"/>
                </a:cubicBezTo>
                <a:cubicBezTo>
                  <a:pt x="82" y="102"/>
                  <a:pt x="88" y="107"/>
                  <a:pt x="96" y="107"/>
                </a:cubicBezTo>
                <a:cubicBezTo>
                  <a:pt x="114" y="107"/>
                  <a:pt x="123" y="80"/>
                  <a:pt x="123" y="54"/>
                </a:cubicBezTo>
                <a:cubicBezTo>
                  <a:pt x="123" y="27"/>
                  <a:pt x="114" y="0"/>
                  <a:pt x="96" y="0"/>
                </a:cubicBezTo>
                <a:close/>
                <a:moveTo>
                  <a:pt x="77" y="54"/>
                </a:moveTo>
                <a:cubicBezTo>
                  <a:pt x="77" y="50"/>
                  <a:pt x="77" y="46"/>
                  <a:pt x="77" y="42"/>
                </a:cubicBezTo>
                <a:cubicBezTo>
                  <a:pt x="88" y="42"/>
                  <a:pt x="88" y="42"/>
                  <a:pt x="88" y="42"/>
                </a:cubicBezTo>
                <a:cubicBezTo>
                  <a:pt x="92" y="42"/>
                  <a:pt x="96" y="47"/>
                  <a:pt x="96" y="54"/>
                </a:cubicBezTo>
                <a:cubicBezTo>
                  <a:pt x="96" y="60"/>
                  <a:pt x="92" y="65"/>
                  <a:pt x="88" y="65"/>
                </a:cubicBezTo>
                <a:cubicBezTo>
                  <a:pt x="77" y="65"/>
                  <a:pt x="77" y="65"/>
                  <a:pt x="77" y="65"/>
                </a:cubicBezTo>
                <a:cubicBezTo>
                  <a:pt x="77" y="61"/>
                  <a:pt x="77" y="58"/>
                  <a:pt x="77" y="54"/>
                </a:cubicBezTo>
                <a:close/>
                <a:moveTo>
                  <a:pt x="8" y="54"/>
                </a:moveTo>
                <a:cubicBezTo>
                  <a:pt x="8" y="47"/>
                  <a:pt x="11" y="42"/>
                  <a:pt x="15" y="42"/>
                </a:cubicBezTo>
                <a:cubicBezTo>
                  <a:pt x="42" y="42"/>
                  <a:pt x="42" y="42"/>
                  <a:pt x="42" y="42"/>
                </a:cubicBezTo>
                <a:cubicBezTo>
                  <a:pt x="40" y="45"/>
                  <a:pt x="38" y="49"/>
                  <a:pt x="38" y="54"/>
                </a:cubicBezTo>
                <a:cubicBezTo>
                  <a:pt x="38" y="58"/>
                  <a:pt x="40" y="62"/>
                  <a:pt x="42" y="65"/>
                </a:cubicBezTo>
                <a:cubicBezTo>
                  <a:pt x="15" y="65"/>
                  <a:pt x="15" y="65"/>
                  <a:pt x="15" y="65"/>
                </a:cubicBezTo>
                <a:cubicBezTo>
                  <a:pt x="11" y="65"/>
                  <a:pt x="8" y="60"/>
                  <a:pt x="8" y="54"/>
                </a:cubicBezTo>
                <a:close/>
                <a:moveTo>
                  <a:pt x="46" y="115"/>
                </a:moveTo>
                <a:cubicBezTo>
                  <a:pt x="31" y="115"/>
                  <a:pt x="31" y="115"/>
                  <a:pt x="31" y="115"/>
                </a:cubicBezTo>
                <a:cubicBezTo>
                  <a:pt x="31" y="80"/>
                  <a:pt x="31" y="80"/>
                  <a:pt x="31" y="80"/>
                </a:cubicBezTo>
                <a:cubicBezTo>
                  <a:pt x="31" y="78"/>
                  <a:pt x="30" y="75"/>
                  <a:pt x="29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31" y="73"/>
                  <a:pt x="31" y="73"/>
                  <a:pt x="31" y="73"/>
                </a:cubicBezTo>
                <a:cubicBezTo>
                  <a:pt x="43" y="73"/>
                  <a:pt x="43" y="73"/>
                  <a:pt x="43" y="73"/>
                </a:cubicBezTo>
                <a:cubicBezTo>
                  <a:pt x="42" y="74"/>
                  <a:pt x="42" y="75"/>
                  <a:pt x="42" y="77"/>
                </a:cubicBezTo>
                <a:cubicBezTo>
                  <a:pt x="42" y="103"/>
                  <a:pt x="42" y="103"/>
                  <a:pt x="42" y="103"/>
                </a:cubicBezTo>
                <a:cubicBezTo>
                  <a:pt x="42" y="107"/>
                  <a:pt x="44" y="110"/>
                  <a:pt x="46" y="111"/>
                </a:cubicBezTo>
                <a:cubicBezTo>
                  <a:pt x="46" y="111"/>
                  <a:pt x="46" y="111"/>
                  <a:pt x="46" y="112"/>
                </a:cubicBezTo>
                <a:lnTo>
                  <a:pt x="46" y="115"/>
                </a:lnTo>
                <a:close/>
                <a:moveTo>
                  <a:pt x="51" y="65"/>
                </a:moveTo>
                <a:cubicBezTo>
                  <a:pt x="50" y="65"/>
                  <a:pt x="50" y="65"/>
                  <a:pt x="50" y="65"/>
                </a:cubicBezTo>
                <a:cubicBezTo>
                  <a:pt x="50" y="65"/>
                  <a:pt x="50" y="65"/>
                  <a:pt x="50" y="65"/>
                </a:cubicBezTo>
                <a:cubicBezTo>
                  <a:pt x="46" y="65"/>
                  <a:pt x="42" y="60"/>
                  <a:pt x="42" y="54"/>
                </a:cubicBezTo>
                <a:cubicBezTo>
                  <a:pt x="42" y="47"/>
                  <a:pt x="46" y="42"/>
                  <a:pt x="50" y="42"/>
                </a:cubicBezTo>
                <a:cubicBezTo>
                  <a:pt x="51" y="42"/>
                  <a:pt x="51" y="42"/>
                  <a:pt x="51" y="42"/>
                </a:cubicBezTo>
                <a:cubicBezTo>
                  <a:pt x="58" y="42"/>
                  <a:pt x="65" y="39"/>
                  <a:pt x="71" y="34"/>
                </a:cubicBezTo>
                <a:cubicBezTo>
                  <a:pt x="70" y="40"/>
                  <a:pt x="69" y="47"/>
                  <a:pt x="69" y="54"/>
                </a:cubicBezTo>
                <a:cubicBezTo>
                  <a:pt x="69" y="60"/>
                  <a:pt x="70" y="67"/>
                  <a:pt x="71" y="73"/>
                </a:cubicBezTo>
                <a:cubicBezTo>
                  <a:pt x="65" y="68"/>
                  <a:pt x="58" y="65"/>
                  <a:pt x="51" y="65"/>
                </a:cubicBezTo>
                <a:close/>
                <a:moveTo>
                  <a:pt x="96" y="100"/>
                </a:moveTo>
                <a:cubicBezTo>
                  <a:pt x="88" y="100"/>
                  <a:pt x="82" y="89"/>
                  <a:pt x="79" y="73"/>
                </a:cubicBezTo>
                <a:cubicBezTo>
                  <a:pt x="88" y="73"/>
                  <a:pt x="88" y="73"/>
                  <a:pt x="88" y="73"/>
                </a:cubicBezTo>
                <a:cubicBezTo>
                  <a:pt x="97" y="73"/>
                  <a:pt x="104" y="64"/>
                  <a:pt x="104" y="54"/>
                </a:cubicBezTo>
                <a:cubicBezTo>
                  <a:pt x="104" y="43"/>
                  <a:pt x="97" y="34"/>
                  <a:pt x="88" y="34"/>
                </a:cubicBezTo>
                <a:cubicBezTo>
                  <a:pt x="79" y="34"/>
                  <a:pt x="79" y="34"/>
                  <a:pt x="79" y="34"/>
                </a:cubicBezTo>
                <a:cubicBezTo>
                  <a:pt x="82" y="19"/>
                  <a:pt x="88" y="8"/>
                  <a:pt x="96" y="8"/>
                </a:cubicBezTo>
                <a:cubicBezTo>
                  <a:pt x="107" y="8"/>
                  <a:pt x="115" y="28"/>
                  <a:pt x="115" y="54"/>
                </a:cubicBezTo>
                <a:cubicBezTo>
                  <a:pt x="115" y="79"/>
                  <a:pt x="107" y="100"/>
                  <a:pt x="96" y="100"/>
                </a:cubicBezTo>
                <a:close/>
                <a:moveTo>
                  <a:pt x="96" y="100"/>
                </a:moveTo>
                <a:cubicBezTo>
                  <a:pt x="96" y="100"/>
                  <a:pt x="96" y="100"/>
                  <a:pt x="96" y="100"/>
                </a:cubicBezTo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38" name="Oval 87">
            <a:extLst>
              <a:ext uri="{FF2B5EF4-FFF2-40B4-BE49-F238E27FC236}">
                <a16:creationId xmlns:a16="http://schemas.microsoft.com/office/drawing/2014/main" id="{06A949A5-9C2B-4B08-9281-CE51EA0664CC}"/>
              </a:ext>
            </a:extLst>
          </p:cNvPr>
          <p:cNvSpPr/>
          <p:nvPr/>
        </p:nvSpPr>
        <p:spPr bwMode="auto">
          <a:xfrm>
            <a:off x="1524287" y="4792145"/>
            <a:ext cx="722722" cy="722910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39" name="Rectangle 99">
            <a:extLst>
              <a:ext uri="{FF2B5EF4-FFF2-40B4-BE49-F238E27FC236}">
                <a16:creationId xmlns:a16="http://schemas.microsoft.com/office/drawing/2014/main" id="{F3D06058-5BB5-4033-B023-869B35C67396}"/>
              </a:ext>
            </a:extLst>
          </p:cNvPr>
          <p:cNvSpPr/>
          <p:nvPr/>
        </p:nvSpPr>
        <p:spPr>
          <a:xfrm>
            <a:off x="2505436" y="4975837"/>
            <a:ext cx="1078182" cy="412455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20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Javítás</a:t>
            </a:r>
            <a:endParaRPr lang="en-US" sz="20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Freeform 171">
            <a:extLst>
              <a:ext uri="{FF2B5EF4-FFF2-40B4-BE49-F238E27FC236}">
                <a16:creationId xmlns:a16="http://schemas.microsoft.com/office/drawing/2014/main" id="{8CB40D59-19FF-4C83-ADBB-C2A4632E0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7101" y="4974767"/>
            <a:ext cx="355601" cy="355601"/>
          </a:xfrm>
          <a:custGeom>
            <a:avLst/>
            <a:gdLst>
              <a:gd name="T0" fmla="*/ 106062 w 589"/>
              <a:gd name="T1" fmla="*/ 69145 h 590"/>
              <a:gd name="T2" fmla="*/ 106062 w 589"/>
              <a:gd name="T3" fmla="*/ 137930 h 590"/>
              <a:gd name="T4" fmla="*/ 106062 w 589"/>
              <a:gd name="T5" fmla="*/ 69145 h 590"/>
              <a:gd name="T6" fmla="*/ 106062 w 589"/>
              <a:gd name="T7" fmla="*/ 127486 h 590"/>
              <a:gd name="T8" fmla="*/ 106062 w 589"/>
              <a:gd name="T9" fmla="*/ 84991 h 590"/>
              <a:gd name="T10" fmla="*/ 106062 w 589"/>
              <a:gd name="T11" fmla="*/ 127486 h 590"/>
              <a:gd name="T12" fmla="*/ 207074 w 589"/>
              <a:gd name="T13" fmla="*/ 127486 h 590"/>
              <a:gd name="T14" fmla="*/ 190840 w 589"/>
              <a:gd name="T15" fmla="*/ 106239 h 590"/>
              <a:gd name="T16" fmla="*/ 207074 w 589"/>
              <a:gd name="T17" fmla="*/ 79589 h 590"/>
              <a:gd name="T18" fmla="*/ 196251 w 589"/>
              <a:gd name="T19" fmla="*/ 37454 h 590"/>
              <a:gd name="T20" fmla="*/ 159093 w 589"/>
              <a:gd name="T21" fmla="*/ 42495 h 590"/>
              <a:gd name="T22" fmla="*/ 132397 w 589"/>
              <a:gd name="T23" fmla="*/ 10804 h 590"/>
              <a:gd name="T24" fmla="*/ 90189 w 589"/>
              <a:gd name="T25" fmla="*/ 0 h 590"/>
              <a:gd name="T26" fmla="*/ 79366 w 589"/>
              <a:gd name="T27" fmla="*/ 26650 h 590"/>
              <a:gd name="T28" fmla="*/ 37158 w 589"/>
              <a:gd name="T29" fmla="*/ 32052 h 590"/>
              <a:gd name="T30" fmla="*/ 0 w 589"/>
              <a:gd name="T31" fmla="*/ 58701 h 590"/>
              <a:gd name="T32" fmla="*/ 20924 w 589"/>
              <a:gd name="T33" fmla="*/ 90393 h 590"/>
              <a:gd name="T34" fmla="*/ 20924 w 589"/>
              <a:gd name="T35" fmla="*/ 122084 h 590"/>
              <a:gd name="T36" fmla="*/ 0 w 589"/>
              <a:gd name="T37" fmla="*/ 148734 h 590"/>
              <a:gd name="T38" fmla="*/ 37158 w 589"/>
              <a:gd name="T39" fmla="*/ 180425 h 590"/>
              <a:gd name="T40" fmla="*/ 79366 w 589"/>
              <a:gd name="T41" fmla="*/ 185827 h 590"/>
              <a:gd name="T42" fmla="*/ 90189 w 589"/>
              <a:gd name="T43" fmla="*/ 212117 h 590"/>
              <a:gd name="T44" fmla="*/ 132397 w 589"/>
              <a:gd name="T45" fmla="*/ 196271 h 590"/>
              <a:gd name="T46" fmla="*/ 159093 w 589"/>
              <a:gd name="T47" fmla="*/ 169982 h 590"/>
              <a:gd name="T48" fmla="*/ 196251 w 589"/>
              <a:gd name="T49" fmla="*/ 175023 h 590"/>
              <a:gd name="T50" fmla="*/ 207074 w 589"/>
              <a:gd name="T51" fmla="*/ 127486 h 590"/>
              <a:gd name="T52" fmla="*/ 196251 w 589"/>
              <a:gd name="T53" fmla="*/ 148734 h 590"/>
              <a:gd name="T54" fmla="*/ 180378 w 589"/>
              <a:gd name="T55" fmla="*/ 164580 h 590"/>
              <a:gd name="T56" fmla="*/ 121935 w 589"/>
              <a:gd name="T57" fmla="*/ 175023 h 590"/>
              <a:gd name="T58" fmla="*/ 111473 w 589"/>
              <a:gd name="T59" fmla="*/ 196271 h 590"/>
              <a:gd name="T60" fmla="*/ 90189 w 589"/>
              <a:gd name="T61" fmla="*/ 190869 h 590"/>
              <a:gd name="T62" fmla="*/ 53031 w 589"/>
              <a:gd name="T63" fmla="*/ 153776 h 590"/>
              <a:gd name="T64" fmla="*/ 26335 w 589"/>
              <a:gd name="T65" fmla="*/ 159178 h 590"/>
              <a:gd name="T66" fmla="*/ 20924 w 589"/>
              <a:gd name="T67" fmla="*/ 137930 h 590"/>
              <a:gd name="T68" fmla="*/ 37158 w 589"/>
              <a:gd name="T69" fmla="*/ 106239 h 590"/>
              <a:gd name="T70" fmla="*/ 20924 w 589"/>
              <a:gd name="T71" fmla="*/ 69145 h 590"/>
              <a:gd name="T72" fmla="*/ 26335 w 589"/>
              <a:gd name="T73" fmla="*/ 47897 h 590"/>
              <a:gd name="T74" fmla="*/ 53031 w 589"/>
              <a:gd name="T75" fmla="*/ 58701 h 590"/>
              <a:gd name="T76" fmla="*/ 90189 w 589"/>
              <a:gd name="T77" fmla="*/ 21248 h 590"/>
              <a:gd name="T78" fmla="*/ 111473 w 589"/>
              <a:gd name="T79" fmla="*/ 10804 h 590"/>
              <a:gd name="T80" fmla="*/ 121935 w 589"/>
              <a:gd name="T81" fmla="*/ 37454 h 590"/>
              <a:gd name="T82" fmla="*/ 180378 w 589"/>
              <a:gd name="T83" fmla="*/ 47897 h 590"/>
              <a:gd name="T84" fmla="*/ 196251 w 589"/>
              <a:gd name="T85" fmla="*/ 58701 h 590"/>
              <a:gd name="T86" fmla="*/ 174966 w 589"/>
              <a:gd name="T87" fmla="*/ 79589 h 590"/>
              <a:gd name="T88" fmla="*/ 174966 w 589"/>
              <a:gd name="T89" fmla="*/ 127486 h 590"/>
              <a:gd name="T90" fmla="*/ 196251 w 589"/>
              <a:gd name="T91" fmla="*/ 148734 h 59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589" h="590">
                <a:moveTo>
                  <a:pt x="294" y="192"/>
                </a:moveTo>
                <a:lnTo>
                  <a:pt x="294" y="192"/>
                </a:lnTo>
                <a:cubicBezTo>
                  <a:pt x="235" y="192"/>
                  <a:pt x="191" y="236"/>
                  <a:pt x="191" y="295"/>
                </a:cubicBezTo>
                <a:cubicBezTo>
                  <a:pt x="191" y="339"/>
                  <a:pt x="235" y="383"/>
                  <a:pt x="294" y="383"/>
                </a:cubicBezTo>
                <a:cubicBezTo>
                  <a:pt x="353" y="383"/>
                  <a:pt x="397" y="339"/>
                  <a:pt x="397" y="295"/>
                </a:cubicBezTo>
                <a:cubicBezTo>
                  <a:pt x="397" y="236"/>
                  <a:pt x="353" y="192"/>
                  <a:pt x="294" y="192"/>
                </a:cubicBezTo>
                <a:close/>
                <a:moveTo>
                  <a:pt x="294" y="354"/>
                </a:moveTo>
                <a:lnTo>
                  <a:pt x="294" y="354"/>
                </a:lnTo>
                <a:cubicBezTo>
                  <a:pt x="265" y="354"/>
                  <a:pt x="235" y="324"/>
                  <a:pt x="235" y="295"/>
                </a:cubicBezTo>
                <a:cubicBezTo>
                  <a:pt x="235" y="251"/>
                  <a:pt x="265" y="236"/>
                  <a:pt x="294" y="236"/>
                </a:cubicBezTo>
                <a:cubicBezTo>
                  <a:pt x="324" y="236"/>
                  <a:pt x="353" y="251"/>
                  <a:pt x="353" y="295"/>
                </a:cubicBezTo>
                <a:cubicBezTo>
                  <a:pt x="353" y="324"/>
                  <a:pt x="324" y="354"/>
                  <a:pt x="294" y="354"/>
                </a:cubicBezTo>
                <a:close/>
                <a:moveTo>
                  <a:pt x="574" y="354"/>
                </a:moveTo>
                <a:lnTo>
                  <a:pt x="574" y="354"/>
                </a:lnTo>
                <a:cubicBezTo>
                  <a:pt x="529" y="339"/>
                  <a:pt x="529" y="339"/>
                  <a:pt x="529" y="339"/>
                </a:cubicBezTo>
                <a:cubicBezTo>
                  <a:pt x="529" y="324"/>
                  <a:pt x="529" y="309"/>
                  <a:pt x="529" y="295"/>
                </a:cubicBezTo>
                <a:cubicBezTo>
                  <a:pt x="529" y="280"/>
                  <a:pt x="529" y="265"/>
                  <a:pt x="529" y="251"/>
                </a:cubicBezTo>
                <a:cubicBezTo>
                  <a:pt x="574" y="221"/>
                  <a:pt x="574" y="221"/>
                  <a:pt x="574" y="221"/>
                </a:cubicBezTo>
                <a:cubicBezTo>
                  <a:pt x="588" y="206"/>
                  <a:pt x="588" y="192"/>
                  <a:pt x="588" y="163"/>
                </a:cubicBezTo>
                <a:cubicBezTo>
                  <a:pt x="544" y="104"/>
                  <a:pt x="544" y="104"/>
                  <a:pt x="544" y="104"/>
                </a:cubicBezTo>
                <a:cubicBezTo>
                  <a:pt x="529" y="74"/>
                  <a:pt x="515" y="74"/>
                  <a:pt x="485" y="89"/>
                </a:cubicBezTo>
                <a:cubicBezTo>
                  <a:pt x="441" y="118"/>
                  <a:pt x="441" y="118"/>
                  <a:pt x="441" y="118"/>
                </a:cubicBezTo>
                <a:cubicBezTo>
                  <a:pt x="426" y="89"/>
                  <a:pt x="397" y="74"/>
                  <a:pt x="367" y="74"/>
                </a:cubicBezTo>
                <a:cubicBezTo>
                  <a:pt x="367" y="30"/>
                  <a:pt x="367" y="30"/>
                  <a:pt x="367" y="30"/>
                </a:cubicBezTo>
                <a:cubicBezTo>
                  <a:pt x="367" y="15"/>
                  <a:pt x="353" y="0"/>
                  <a:pt x="338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35" y="0"/>
                  <a:pt x="220" y="15"/>
                  <a:pt x="220" y="30"/>
                </a:cubicBezTo>
                <a:cubicBezTo>
                  <a:pt x="220" y="74"/>
                  <a:pt x="220" y="74"/>
                  <a:pt x="220" y="74"/>
                </a:cubicBezTo>
                <a:cubicBezTo>
                  <a:pt x="191" y="74"/>
                  <a:pt x="162" y="89"/>
                  <a:pt x="147" y="118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73" y="74"/>
                  <a:pt x="58" y="74"/>
                  <a:pt x="44" y="104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92"/>
                  <a:pt x="0" y="206"/>
                  <a:pt x="14" y="221"/>
                </a:cubicBezTo>
                <a:cubicBezTo>
                  <a:pt x="58" y="251"/>
                  <a:pt x="58" y="251"/>
                  <a:pt x="58" y="251"/>
                </a:cubicBezTo>
                <a:cubicBezTo>
                  <a:pt x="58" y="265"/>
                  <a:pt x="58" y="280"/>
                  <a:pt x="58" y="295"/>
                </a:cubicBezTo>
                <a:cubicBezTo>
                  <a:pt x="58" y="309"/>
                  <a:pt x="58" y="324"/>
                  <a:pt x="58" y="339"/>
                </a:cubicBezTo>
                <a:cubicBezTo>
                  <a:pt x="14" y="354"/>
                  <a:pt x="14" y="354"/>
                  <a:pt x="14" y="354"/>
                </a:cubicBezTo>
                <a:cubicBezTo>
                  <a:pt x="0" y="368"/>
                  <a:pt x="0" y="398"/>
                  <a:pt x="0" y="413"/>
                </a:cubicBezTo>
                <a:cubicBezTo>
                  <a:pt x="44" y="486"/>
                  <a:pt x="44" y="486"/>
                  <a:pt x="44" y="486"/>
                </a:cubicBezTo>
                <a:cubicBezTo>
                  <a:pt x="58" y="501"/>
                  <a:pt x="73" y="501"/>
                  <a:pt x="103" y="501"/>
                </a:cubicBezTo>
                <a:cubicBezTo>
                  <a:pt x="147" y="472"/>
                  <a:pt x="147" y="472"/>
                  <a:pt x="147" y="472"/>
                </a:cubicBezTo>
                <a:cubicBezTo>
                  <a:pt x="162" y="486"/>
                  <a:pt x="191" y="501"/>
                  <a:pt x="220" y="516"/>
                </a:cubicBezTo>
                <a:cubicBezTo>
                  <a:pt x="220" y="545"/>
                  <a:pt x="220" y="545"/>
                  <a:pt x="220" y="545"/>
                </a:cubicBezTo>
                <a:cubicBezTo>
                  <a:pt x="220" y="560"/>
                  <a:pt x="235" y="589"/>
                  <a:pt x="250" y="589"/>
                </a:cubicBezTo>
                <a:cubicBezTo>
                  <a:pt x="338" y="589"/>
                  <a:pt x="338" y="589"/>
                  <a:pt x="338" y="589"/>
                </a:cubicBezTo>
                <a:cubicBezTo>
                  <a:pt x="353" y="589"/>
                  <a:pt x="367" y="560"/>
                  <a:pt x="367" y="545"/>
                </a:cubicBezTo>
                <a:cubicBezTo>
                  <a:pt x="367" y="516"/>
                  <a:pt x="367" y="516"/>
                  <a:pt x="367" y="516"/>
                </a:cubicBezTo>
                <a:cubicBezTo>
                  <a:pt x="397" y="501"/>
                  <a:pt x="426" y="486"/>
                  <a:pt x="441" y="472"/>
                </a:cubicBezTo>
                <a:cubicBezTo>
                  <a:pt x="485" y="501"/>
                  <a:pt x="485" y="501"/>
                  <a:pt x="485" y="501"/>
                </a:cubicBezTo>
                <a:cubicBezTo>
                  <a:pt x="515" y="501"/>
                  <a:pt x="529" y="501"/>
                  <a:pt x="544" y="486"/>
                </a:cubicBezTo>
                <a:cubicBezTo>
                  <a:pt x="588" y="413"/>
                  <a:pt x="588" y="413"/>
                  <a:pt x="588" y="413"/>
                </a:cubicBezTo>
                <a:cubicBezTo>
                  <a:pt x="588" y="398"/>
                  <a:pt x="588" y="368"/>
                  <a:pt x="574" y="354"/>
                </a:cubicBezTo>
                <a:close/>
                <a:moveTo>
                  <a:pt x="544" y="413"/>
                </a:moveTo>
                <a:lnTo>
                  <a:pt x="544" y="413"/>
                </a:lnTo>
                <a:cubicBezTo>
                  <a:pt x="515" y="442"/>
                  <a:pt x="515" y="442"/>
                  <a:pt x="515" y="442"/>
                </a:cubicBezTo>
                <a:cubicBezTo>
                  <a:pt x="515" y="457"/>
                  <a:pt x="500" y="457"/>
                  <a:pt x="500" y="457"/>
                </a:cubicBezTo>
                <a:cubicBezTo>
                  <a:pt x="441" y="427"/>
                  <a:pt x="441" y="427"/>
                  <a:pt x="441" y="427"/>
                </a:cubicBezTo>
                <a:cubicBezTo>
                  <a:pt x="412" y="457"/>
                  <a:pt x="382" y="472"/>
                  <a:pt x="338" y="486"/>
                </a:cubicBezTo>
                <a:cubicBezTo>
                  <a:pt x="338" y="530"/>
                  <a:pt x="338" y="530"/>
                  <a:pt x="338" y="530"/>
                </a:cubicBezTo>
                <a:cubicBezTo>
                  <a:pt x="338" y="530"/>
                  <a:pt x="324" y="545"/>
                  <a:pt x="309" y="545"/>
                </a:cubicBezTo>
                <a:cubicBezTo>
                  <a:pt x="279" y="545"/>
                  <a:pt x="279" y="545"/>
                  <a:pt x="279" y="545"/>
                </a:cubicBezTo>
                <a:cubicBezTo>
                  <a:pt x="265" y="545"/>
                  <a:pt x="250" y="530"/>
                  <a:pt x="250" y="530"/>
                </a:cubicBezTo>
                <a:cubicBezTo>
                  <a:pt x="250" y="486"/>
                  <a:pt x="250" y="486"/>
                  <a:pt x="250" y="486"/>
                </a:cubicBezTo>
                <a:cubicBezTo>
                  <a:pt x="206" y="472"/>
                  <a:pt x="176" y="457"/>
                  <a:pt x="147" y="427"/>
                </a:cubicBezTo>
                <a:cubicBezTo>
                  <a:pt x="88" y="457"/>
                  <a:pt x="88" y="457"/>
                  <a:pt x="88" y="457"/>
                </a:cubicBezTo>
                <a:cubicBezTo>
                  <a:pt x="88" y="457"/>
                  <a:pt x="73" y="457"/>
                  <a:pt x="73" y="442"/>
                </a:cubicBezTo>
                <a:cubicBezTo>
                  <a:pt x="44" y="413"/>
                  <a:pt x="44" y="413"/>
                  <a:pt x="44" y="413"/>
                </a:cubicBezTo>
                <a:cubicBezTo>
                  <a:pt x="44" y="398"/>
                  <a:pt x="44" y="383"/>
                  <a:pt x="58" y="383"/>
                </a:cubicBezTo>
                <a:cubicBezTo>
                  <a:pt x="103" y="354"/>
                  <a:pt x="103" y="354"/>
                  <a:pt x="103" y="354"/>
                </a:cubicBezTo>
                <a:cubicBezTo>
                  <a:pt x="103" y="339"/>
                  <a:pt x="103" y="309"/>
                  <a:pt x="103" y="295"/>
                </a:cubicBezTo>
                <a:cubicBezTo>
                  <a:pt x="103" y="265"/>
                  <a:pt x="103" y="251"/>
                  <a:pt x="103" y="221"/>
                </a:cubicBezTo>
                <a:cubicBezTo>
                  <a:pt x="58" y="192"/>
                  <a:pt x="58" y="192"/>
                  <a:pt x="58" y="192"/>
                </a:cubicBezTo>
                <a:cubicBezTo>
                  <a:pt x="44" y="192"/>
                  <a:pt x="44" y="177"/>
                  <a:pt x="44" y="16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3"/>
                  <a:pt x="88" y="118"/>
                  <a:pt x="88" y="133"/>
                </a:cubicBezTo>
                <a:cubicBezTo>
                  <a:pt x="147" y="163"/>
                  <a:pt x="147" y="163"/>
                  <a:pt x="147" y="163"/>
                </a:cubicBezTo>
                <a:cubicBezTo>
                  <a:pt x="176" y="133"/>
                  <a:pt x="206" y="104"/>
                  <a:pt x="250" y="104"/>
                </a:cubicBezTo>
                <a:cubicBezTo>
                  <a:pt x="250" y="59"/>
                  <a:pt x="250" y="59"/>
                  <a:pt x="250" y="59"/>
                </a:cubicBezTo>
                <a:cubicBezTo>
                  <a:pt x="250" y="45"/>
                  <a:pt x="265" y="30"/>
                  <a:pt x="279" y="30"/>
                </a:cubicBezTo>
                <a:cubicBezTo>
                  <a:pt x="309" y="30"/>
                  <a:pt x="309" y="30"/>
                  <a:pt x="309" y="30"/>
                </a:cubicBezTo>
                <a:cubicBezTo>
                  <a:pt x="324" y="30"/>
                  <a:pt x="338" y="45"/>
                  <a:pt x="338" y="59"/>
                </a:cubicBezTo>
                <a:cubicBezTo>
                  <a:pt x="338" y="104"/>
                  <a:pt x="338" y="104"/>
                  <a:pt x="338" y="104"/>
                </a:cubicBezTo>
                <a:cubicBezTo>
                  <a:pt x="382" y="104"/>
                  <a:pt x="412" y="133"/>
                  <a:pt x="441" y="163"/>
                </a:cubicBezTo>
                <a:cubicBezTo>
                  <a:pt x="500" y="133"/>
                  <a:pt x="500" y="133"/>
                  <a:pt x="500" y="133"/>
                </a:cubicBezTo>
                <a:cubicBezTo>
                  <a:pt x="500" y="118"/>
                  <a:pt x="515" y="133"/>
                  <a:pt x="515" y="133"/>
                </a:cubicBezTo>
                <a:cubicBezTo>
                  <a:pt x="544" y="163"/>
                  <a:pt x="544" y="163"/>
                  <a:pt x="544" y="163"/>
                </a:cubicBezTo>
                <a:cubicBezTo>
                  <a:pt x="544" y="177"/>
                  <a:pt x="544" y="192"/>
                  <a:pt x="529" y="192"/>
                </a:cubicBezTo>
                <a:cubicBezTo>
                  <a:pt x="485" y="221"/>
                  <a:pt x="485" y="221"/>
                  <a:pt x="485" y="221"/>
                </a:cubicBezTo>
                <a:cubicBezTo>
                  <a:pt x="485" y="251"/>
                  <a:pt x="485" y="265"/>
                  <a:pt x="485" y="295"/>
                </a:cubicBezTo>
                <a:cubicBezTo>
                  <a:pt x="485" y="309"/>
                  <a:pt x="485" y="339"/>
                  <a:pt x="485" y="354"/>
                </a:cubicBezTo>
                <a:cubicBezTo>
                  <a:pt x="529" y="383"/>
                  <a:pt x="529" y="383"/>
                  <a:pt x="529" y="383"/>
                </a:cubicBezTo>
                <a:cubicBezTo>
                  <a:pt x="544" y="383"/>
                  <a:pt x="544" y="398"/>
                  <a:pt x="544" y="4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431" tIns="45716" rIns="91431" bIns="45716" anchor="ctr"/>
          <a:lstStyle/>
          <a:p>
            <a:endParaRPr lang="en-US" dirty="0"/>
          </a:p>
        </p:txBody>
      </p:sp>
      <p:sp>
        <p:nvSpPr>
          <p:cNvPr id="58" name="Rectangle 101">
            <a:extLst>
              <a:ext uri="{FF2B5EF4-FFF2-40B4-BE49-F238E27FC236}">
                <a16:creationId xmlns:a16="http://schemas.microsoft.com/office/drawing/2014/main" id="{36B4EA52-7F8E-446B-9A45-36E4DEAF529B}"/>
              </a:ext>
            </a:extLst>
          </p:cNvPr>
          <p:cNvSpPr/>
          <p:nvPr/>
        </p:nvSpPr>
        <p:spPr>
          <a:xfrm>
            <a:off x="5096108" y="4792145"/>
            <a:ext cx="1677242" cy="474010"/>
          </a:xfrm>
          <a:prstGeom prst="rect">
            <a:avLst/>
          </a:prstGeom>
        </p:spPr>
        <p:txBody>
          <a:bodyPr wrap="square" lIns="103665" tIns="51833" rIns="103665" bIns="51833">
            <a:spAutoFit/>
          </a:bodyPr>
          <a:lstStyle/>
          <a:p>
            <a:r>
              <a:rPr lang="hu-HU" sz="24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Retorzió</a:t>
            </a:r>
            <a:endParaRPr lang="en-US" sz="24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Ábra 31" descr="Bezárás">
            <a:extLst>
              <a:ext uri="{FF2B5EF4-FFF2-40B4-BE49-F238E27FC236}">
                <a16:creationId xmlns:a16="http://schemas.microsoft.com/office/drawing/2014/main" id="{F6C8EF83-79A3-4CA0-9C4B-E35B803D8E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77434" y="4348105"/>
            <a:ext cx="1365131" cy="136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15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324000" y="242816"/>
            <a:ext cx="10872000" cy="504000"/>
          </a:xfrm>
        </p:spPr>
        <p:txBody>
          <a:bodyPr/>
          <a:lstStyle/>
          <a:p>
            <a:r>
              <a:rPr lang="hu-HU" dirty="0"/>
              <a:t>Amit nem fogadunk</a:t>
            </a:r>
            <a:endParaRPr lang="en-US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7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5" name="Rectangle 35"/>
          <p:cNvSpPr/>
          <p:nvPr/>
        </p:nvSpPr>
        <p:spPr>
          <a:xfrm>
            <a:off x="6307725" y="1458663"/>
            <a:ext cx="1940726" cy="35090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HTTP/HTTPS jelzőbitek</a:t>
            </a:r>
          </a:p>
        </p:txBody>
      </p:sp>
      <p:sp>
        <p:nvSpPr>
          <p:cNvPr id="10" name="Rectangle 99"/>
          <p:cNvSpPr/>
          <p:nvPr/>
        </p:nvSpPr>
        <p:spPr>
          <a:xfrm>
            <a:off x="6307725" y="2450016"/>
            <a:ext cx="2606486" cy="597121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Véletlenszerűen vagy brute-force </a:t>
            </a:r>
          </a:p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módszerrel feltört jelszavak</a:t>
            </a:r>
          </a:p>
        </p:txBody>
      </p:sp>
      <p:sp>
        <p:nvSpPr>
          <p:cNvPr id="12" name="Rectangle 101"/>
          <p:cNvSpPr/>
          <p:nvPr/>
        </p:nvSpPr>
        <p:spPr>
          <a:xfrm>
            <a:off x="6303488" y="1949209"/>
            <a:ext cx="1738812" cy="35090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SSL sebezhetőségek</a:t>
            </a:r>
          </a:p>
        </p:txBody>
      </p:sp>
      <p:sp>
        <p:nvSpPr>
          <p:cNvPr id="31" name="Rectangle 48"/>
          <p:cNvSpPr/>
          <p:nvPr/>
        </p:nvSpPr>
        <p:spPr>
          <a:xfrm>
            <a:off x="6275699" y="949536"/>
            <a:ext cx="1015666" cy="35090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DoS/DDoS</a:t>
            </a:r>
          </a:p>
        </p:txBody>
      </p:sp>
      <p:sp>
        <p:nvSpPr>
          <p:cNvPr id="47" name="Rectangle 101">
            <a:extLst>
              <a:ext uri="{FF2B5EF4-FFF2-40B4-BE49-F238E27FC236}">
                <a16:creationId xmlns:a16="http://schemas.microsoft.com/office/drawing/2014/main" id="{E4092F98-D122-4122-8C22-17713724EC23}"/>
              </a:ext>
            </a:extLst>
          </p:cNvPr>
          <p:cNvSpPr/>
          <p:nvPr/>
        </p:nvSpPr>
        <p:spPr>
          <a:xfrm>
            <a:off x="6307725" y="3195819"/>
            <a:ext cx="3194659" cy="843342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 dirty="0">
                <a:ea typeface="Open Sans Light" panose="020B0306030504020204" pitchFamily="34" charset="0"/>
                <a:cs typeface="Arial" panose="020B0604020202020204" pitchFamily="34" charset="0"/>
              </a:rPr>
              <a:t>Hitelesítési- és egyéb felhasználói adatok </a:t>
            </a:r>
          </a:p>
          <a:p>
            <a:r>
              <a:rPr lang="hu-HU" sz="1600" b="1" dirty="0">
                <a:ea typeface="Open Sans Light" panose="020B0306030504020204" pitchFamily="34" charset="0"/>
                <a:cs typeface="Arial" panose="020B0604020202020204" pitchFamily="34" charset="0"/>
              </a:rPr>
              <a:t>megszerzése pszichológiai manipuláció, </a:t>
            </a:r>
          </a:p>
          <a:p>
            <a:r>
              <a:rPr lang="hu-HU" sz="1600" b="1" dirty="0">
                <a:ea typeface="Open Sans Light" panose="020B0306030504020204" pitchFamily="34" charset="0"/>
                <a:cs typeface="Arial" panose="020B0604020202020204" pitchFamily="34" charset="0"/>
              </a:rPr>
              <a:t>adathalászat, spam…stb. útján</a:t>
            </a:r>
          </a:p>
        </p:txBody>
      </p:sp>
      <p:sp>
        <p:nvSpPr>
          <p:cNvPr id="48" name="Rectangle 101">
            <a:extLst>
              <a:ext uri="{FF2B5EF4-FFF2-40B4-BE49-F238E27FC236}">
                <a16:creationId xmlns:a16="http://schemas.microsoft.com/office/drawing/2014/main" id="{29C8E055-05DE-4215-8315-0B7C558E6D00}"/>
              </a:ext>
            </a:extLst>
          </p:cNvPr>
          <p:cNvSpPr/>
          <p:nvPr/>
        </p:nvSpPr>
        <p:spPr>
          <a:xfrm>
            <a:off x="6308284" y="4177961"/>
            <a:ext cx="2719978" cy="35090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Rendszerinformáció megjelenítése</a:t>
            </a:r>
          </a:p>
        </p:txBody>
      </p:sp>
      <p:sp>
        <p:nvSpPr>
          <p:cNvPr id="49" name="Rectangle 101">
            <a:extLst>
              <a:ext uri="{FF2B5EF4-FFF2-40B4-BE49-F238E27FC236}">
                <a16:creationId xmlns:a16="http://schemas.microsoft.com/office/drawing/2014/main" id="{A3A8B4D5-F19F-48A2-B2C7-C94DF3D3C670}"/>
              </a:ext>
            </a:extLst>
          </p:cNvPr>
          <p:cNvSpPr/>
          <p:nvPr/>
        </p:nvSpPr>
        <p:spPr>
          <a:xfrm>
            <a:off x="6307725" y="4665729"/>
            <a:ext cx="3773407" cy="597121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Lejárt, nem frissített külső szoftverkomponensből </a:t>
            </a:r>
          </a:p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fakadó sebezhetőség</a:t>
            </a:r>
          </a:p>
        </p:txBody>
      </p:sp>
      <p:sp>
        <p:nvSpPr>
          <p:cNvPr id="52" name="Rectangle 101">
            <a:extLst>
              <a:ext uri="{FF2B5EF4-FFF2-40B4-BE49-F238E27FC236}">
                <a16:creationId xmlns:a16="http://schemas.microsoft.com/office/drawing/2014/main" id="{AE2D3047-FEA5-40CE-9D87-BC093F80DB74}"/>
              </a:ext>
            </a:extLst>
          </p:cNvPr>
          <p:cNvSpPr/>
          <p:nvPr/>
        </p:nvSpPr>
        <p:spPr>
          <a:xfrm>
            <a:off x="6303488" y="5409424"/>
            <a:ext cx="4126581" cy="35090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0" b="1">
                <a:ea typeface="Open Sans Light" panose="020B0306030504020204" pitchFamily="34" charset="0"/>
                <a:cs typeface="Arial" panose="020B0604020202020204" pitchFamily="34" charset="0"/>
              </a:rPr>
              <a:t>Automatizált sérülékenység-vizsgáló eszközök találatai</a:t>
            </a:r>
          </a:p>
        </p:txBody>
      </p:sp>
      <p:grpSp>
        <p:nvGrpSpPr>
          <p:cNvPr id="117" name="Group 3">
            <a:extLst>
              <a:ext uri="{FF2B5EF4-FFF2-40B4-BE49-F238E27FC236}">
                <a16:creationId xmlns:a16="http://schemas.microsoft.com/office/drawing/2014/main" id="{84F6F40F-3EAF-48B3-8A68-5B7C26DF7EA9}"/>
              </a:ext>
            </a:extLst>
          </p:cNvPr>
          <p:cNvGrpSpPr/>
          <p:nvPr/>
        </p:nvGrpSpPr>
        <p:grpSpPr>
          <a:xfrm>
            <a:off x="710613" y="751505"/>
            <a:ext cx="3932877" cy="4835922"/>
            <a:chOff x="2524195" y="2521528"/>
            <a:chExt cx="8742644" cy="9470716"/>
          </a:xfrm>
        </p:grpSpPr>
        <p:grpSp>
          <p:nvGrpSpPr>
            <p:cNvPr id="118" name="Group 33">
              <a:extLst>
                <a:ext uri="{FF2B5EF4-FFF2-40B4-BE49-F238E27FC236}">
                  <a16:creationId xmlns:a16="http://schemas.microsoft.com/office/drawing/2014/main" id="{9CDFFD00-D3C2-4441-8266-DD4616E25B97}"/>
                </a:ext>
              </a:extLst>
            </p:cNvPr>
            <p:cNvGrpSpPr/>
            <p:nvPr/>
          </p:nvGrpSpPr>
          <p:grpSpPr>
            <a:xfrm>
              <a:off x="3800342" y="10064738"/>
              <a:ext cx="745888" cy="991444"/>
              <a:chOff x="9916767" y="11659096"/>
              <a:chExt cx="1032769" cy="1372771"/>
            </a:xfrm>
          </p:grpSpPr>
          <p:sp>
            <p:nvSpPr>
              <p:cNvPr id="186" name="Freeform 1092">
                <a:extLst>
                  <a:ext uri="{FF2B5EF4-FFF2-40B4-BE49-F238E27FC236}">
                    <a16:creationId xmlns:a16="http://schemas.microsoft.com/office/drawing/2014/main" id="{E9111FE7-CE22-4722-81C8-763E1C9C92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16767" y="12943702"/>
                <a:ext cx="75568" cy="88165"/>
              </a:xfrm>
              <a:custGeom>
                <a:avLst/>
                <a:gdLst>
                  <a:gd name="T0" fmla="*/ 3 w 26"/>
                  <a:gd name="T1" fmla="*/ 0 h 29"/>
                  <a:gd name="T2" fmla="*/ 3 w 26"/>
                  <a:gd name="T3" fmla="*/ 0 h 29"/>
                  <a:gd name="T4" fmla="*/ 3 w 26"/>
                  <a:gd name="T5" fmla="*/ 25 h 29"/>
                  <a:gd name="T6" fmla="*/ 25 w 26"/>
                  <a:gd name="T7" fmla="*/ 13 h 29"/>
                  <a:gd name="T8" fmla="*/ 3 w 26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29">
                    <a:moveTo>
                      <a:pt x="3" y="0"/>
                    </a:moveTo>
                    <a:lnTo>
                      <a:pt x="3" y="0"/>
                    </a:lnTo>
                    <a:cubicBezTo>
                      <a:pt x="3" y="4"/>
                      <a:pt x="0" y="22"/>
                      <a:pt x="3" y="25"/>
                    </a:cubicBezTo>
                    <a:cubicBezTo>
                      <a:pt x="3" y="28"/>
                      <a:pt x="22" y="13"/>
                      <a:pt x="25" y="13"/>
                    </a:cubicBezTo>
                    <a:cubicBezTo>
                      <a:pt x="22" y="7"/>
                      <a:pt x="13" y="0"/>
                      <a:pt x="3" y="0"/>
                    </a:cubicBez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7" name="Freeform 1093">
                <a:extLst>
                  <a:ext uri="{FF2B5EF4-FFF2-40B4-BE49-F238E27FC236}">
                    <a16:creationId xmlns:a16="http://schemas.microsoft.com/office/drawing/2014/main" id="{9B8F9185-860D-4D5D-B227-21A9943D27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67144" y="11759852"/>
                <a:ext cx="692717" cy="944566"/>
              </a:xfrm>
              <a:custGeom>
                <a:avLst/>
                <a:gdLst>
                  <a:gd name="T0" fmla="*/ 12 w 243"/>
                  <a:gd name="T1" fmla="*/ 327 h 331"/>
                  <a:gd name="T2" fmla="*/ 12 w 243"/>
                  <a:gd name="T3" fmla="*/ 327 h 331"/>
                  <a:gd name="T4" fmla="*/ 18 w 243"/>
                  <a:gd name="T5" fmla="*/ 330 h 331"/>
                  <a:gd name="T6" fmla="*/ 242 w 243"/>
                  <a:gd name="T7" fmla="*/ 15 h 331"/>
                  <a:gd name="T8" fmla="*/ 224 w 243"/>
                  <a:gd name="T9" fmla="*/ 0 h 331"/>
                  <a:gd name="T10" fmla="*/ 0 w 243"/>
                  <a:gd name="T11" fmla="*/ 315 h 331"/>
                  <a:gd name="T12" fmla="*/ 9 w 243"/>
                  <a:gd name="T13" fmla="*/ 321 h 331"/>
                  <a:gd name="T14" fmla="*/ 12 w 243"/>
                  <a:gd name="T15" fmla="*/ 327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331">
                    <a:moveTo>
                      <a:pt x="12" y="327"/>
                    </a:moveTo>
                    <a:lnTo>
                      <a:pt x="12" y="327"/>
                    </a:lnTo>
                    <a:cubicBezTo>
                      <a:pt x="15" y="327"/>
                      <a:pt x="15" y="330"/>
                      <a:pt x="18" y="330"/>
                    </a:cubicBezTo>
                    <a:cubicBezTo>
                      <a:pt x="242" y="15"/>
                      <a:pt x="242" y="15"/>
                      <a:pt x="242" y="15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0" y="315"/>
                      <a:pt x="0" y="315"/>
                      <a:pt x="0" y="315"/>
                    </a:cubicBezTo>
                    <a:cubicBezTo>
                      <a:pt x="9" y="321"/>
                      <a:pt x="9" y="321"/>
                      <a:pt x="9" y="321"/>
                    </a:cubicBezTo>
                    <a:lnTo>
                      <a:pt x="12" y="327"/>
                    </a:ln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8" name="Freeform 1094">
                <a:extLst>
                  <a:ext uri="{FF2B5EF4-FFF2-40B4-BE49-F238E27FC236}">
                    <a16:creationId xmlns:a16="http://schemas.microsoft.com/office/drawing/2014/main" id="{C6228E9D-6732-4285-9509-55AF827183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80497" y="11848010"/>
                <a:ext cx="705308" cy="944560"/>
              </a:xfrm>
              <a:custGeom>
                <a:avLst/>
                <a:gdLst>
                  <a:gd name="T0" fmla="*/ 6 w 246"/>
                  <a:gd name="T1" fmla="*/ 318 h 331"/>
                  <a:gd name="T2" fmla="*/ 6 w 246"/>
                  <a:gd name="T3" fmla="*/ 318 h 331"/>
                  <a:gd name="T4" fmla="*/ 18 w 246"/>
                  <a:gd name="T5" fmla="*/ 327 h 331"/>
                  <a:gd name="T6" fmla="*/ 21 w 246"/>
                  <a:gd name="T7" fmla="*/ 330 h 331"/>
                  <a:gd name="T8" fmla="*/ 245 w 246"/>
                  <a:gd name="T9" fmla="*/ 12 h 331"/>
                  <a:gd name="T10" fmla="*/ 224 w 246"/>
                  <a:gd name="T11" fmla="*/ 0 h 331"/>
                  <a:gd name="T12" fmla="*/ 0 w 246"/>
                  <a:gd name="T13" fmla="*/ 315 h 331"/>
                  <a:gd name="T14" fmla="*/ 3 w 246"/>
                  <a:gd name="T15" fmla="*/ 315 h 331"/>
                  <a:gd name="T16" fmla="*/ 6 w 246"/>
                  <a:gd name="T17" fmla="*/ 318 h 3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6" h="331">
                    <a:moveTo>
                      <a:pt x="6" y="318"/>
                    </a:moveTo>
                    <a:lnTo>
                      <a:pt x="6" y="318"/>
                    </a:lnTo>
                    <a:cubicBezTo>
                      <a:pt x="18" y="327"/>
                      <a:pt x="18" y="327"/>
                      <a:pt x="18" y="327"/>
                    </a:cubicBezTo>
                    <a:cubicBezTo>
                      <a:pt x="18" y="327"/>
                      <a:pt x="18" y="327"/>
                      <a:pt x="21" y="330"/>
                    </a:cubicBezTo>
                    <a:cubicBezTo>
                      <a:pt x="245" y="12"/>
                      <a:pt x="245" y="12"/>
                      <a:pt x="245" y="12"/>
                    </a:cubicBezTo>
                    <a:cubicBezTo>
                      <a:pt x="224" y="0"/>
                      <a:pt x="224" y="0"/>
                      <a:pt x="224" y="0"/>
                    </a:cubicBezTo>
                    <a:cubicBezTo>
                      <a:pt x="0" y="315"/>
                      <a:pt x="0" y="315"/>
                      <a:pt x="0" y="315"/>
                    </a:cubicBezTo>
                    <a:lnTo>
                      <a:pt x="3" y="315"/>
                    </a:lnTo>
                    <a:lnTo>
                      <a:pt x="6" y="318"/>
                    </a:ln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9" name="Freeform 1095">
                <a:extLst>
                  <a:ext uri="{FF2B5EF4-FFF2-40B4-BE49-F238E27FC236}">
                    <a16:creationId xmlns:a16="http://schemas.microsoft.com/office/drawing/2014/main" id="{5FEB3EAF-D35F-4C5C-ACA4-494E045F2C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72451" y="11659096"/>
                <a:ext cx="277085" cy="239294"/>
              </a:xfrm>
              <a:custGeom>
                <a:avLst/>
                <a:gdLst>
                  <a:gd name="T0" fmla="*/ 88 w 95"/>
                  <a:gd name="T1" fmla="*/ 36 h 82"/>
                  <a:gd name="T2" fmla="*/ 88 w 95"/>
                  <a:gd name="T3" fmla="*/ 36 h 82"/>
                  <a:gd name="T4" fmla="*/ 39 w 95"/>
                  <a:gd name="T5" fmla="*/ 2 h 82"/>
                  <a:gd name="T6" fmla="*/ 30 w 95"/>
                  <a:gd name="T7" fmla="*/ 0 h 82"/>
                  <a:gd name="T8" fmla="*/ 21 w 95"/>
                  <a:gd name="T9" fmla="*/ 0 h 82"/>
                  <a:gd name="T10" fmla="*/ 0 w 95"/>
                  <a:gd name="T11" fmla="*/ 27 h 82"/>
                  <a:gd name="T12" fmla="*/ 78 w 95"/>
                  <a:gd name="T13" fmla="*/ 81 h 82"/>
                  <a:gd name="T14" fmla="*/ 94 w 95"/>
                  <a:gd name="T15" fmla="*/ 54 h 82"/>
                  <a:gd name="T16" fmla="*/ 88 w 95"/>
                  <a:gd name="T17" fmla="*/ 3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5" h="82">
                    <a:moveTo>
                      <a:pt x="88" y="36"/>
                    </a:moveTo>
                    <a:lnTo>
                      <a:pt x="88" y="36"/>
                    </a:lnTo>
                    <a:cubicBezTo>
                      <a:pt x="39" y="2"/>
                      <a:pt x="39" y="2"/>
                      <a:pt x="39" y="2"/>
                    </a:cubicBezTo>
                    <a:cubicBezTo>
                      <a:pt x="36" y="0"/>
                      <a:pt x="33" y="0"/>
                      <a:pt x="30" y="0"/>
                    </a:cubicBezTo>
                    <a:cubicBezTo>
                      <a:pt x="27" y="0"/>
                      <a:pt x="24" y="0"/>
                      <a:pt x="21" y="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78" y="81"/>
                      <a:pt x="78" y="81"/>
                      <a:pt x="78" y="81"/>
                    </a:cubicBezTo>
                    <a:cubicBezTo>
                      <a:pt x="94" y="54"/>
                      <a:pt x="94" y="54"/>
                      <a:pt x="94" y="54"/>
                    </a:cubicBezTo>
                    <a:cubicBezTo>
                      <a:pt x="94" y="48"/>
                      <a:pt x="94" y="39"/>
                      <a:pt x="88" y="36"/>
                    </a:cubicBez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90" name="Freeform 1096">
                <a:extLst>
                  <a:ext uri="{FF2B5EF4-FFF2-40B4-BE49-F238E27FC236}">
                    <a16:creationId xmlns:a16="http://schemas.microsoft.com/office/drawing/2014/main" id="{302866C0-9532-4E88-908D-7E47B5812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81258" y="11923578"/>
                <a:ext cx="692708" cy="931969"/>
              </a:xfrm>
              <a:custGeom>
                <a:avLst/>
                <a:gdLst>
                  <a:gd name="T0" fmla="*/ 0 w 243"/>
                  <a:gd name="T1" fmla="*/ 315 h 325"/>
                  <a:gd name="T2" fmla="*/ 0 w 243"/>
                  <a:gd name="T3" fmla="*/ 315 h 325"/>
                  <a:gd name="T4" fmla="*/ 6 w 243"/>
                  <a:gd name="T5" fmla="*/ 318 h 325"/>
                  <a:gd name="T6" fmla="*/ 9 w 243"/>
                  <a:gd name="T7" fmla="*/ 318 h 325"/>
                  <a:gd name="T8" fmla="*/ 18 w 243"/>
                  <a:gd name="T9" fmla="*/ 324 h 325"/>
                  <a:gd name="T10" fmla="*/ 242 w 243"/>
                  <a:gd name="T11" fmla="*/ 12 h 325"/>
                  <a:gd name="T12" fmla="*/ 227 w 243"/>
                  <a:gd name="T13" fmla="*/ 0 h 325"/>
                  <a:gd name="T14" fmla="*/ 0 w 243"/>
                  <a:gd name="T15" fmla="*/ 31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325">
                    <a:moveTo>
                      <a:pt x="0" y="315"/>
                    </a:moveTo>
                    <a:lnTo>
                      <a:pt x="0" y="315"/>
                    </a:lnTo>
                    <a:cubicBezTo>
                      <a:pt x="3" y="315"/>
                      <a:pt x="6" y="315"/>
                      <a:pt x="6" y="318"/>
                    </a:cubicBezTo>
                    <a:cubicBezTo>
                      <a:pt x="9" y="318"/>
                      <a:pt x="9" y="318"/>
                      <a:pt x="9" y="318"/>
                    </a:cubicBezTo>
                    <a:cubicBezTo>
                      <a:pt x="18" y="324"/>
                      <a:pt x="18" y="324"/>
                      <a:pt x="18" y="324"/>
                    </a:cubicBezTo>
                    <a:cubicBezTo>
                      <a:pt x="242" y="12"/>
                      <a:pt x="242" y="12"/>
                      <a:pt x="242" y="12"/>
                    </a:cubicBezTo>
                    <a:cubicBezTo>
                      <a:pt x="227" y="0"/>
                      <a:pt x="227" y="0"/>
                      <a:pt x="227" y="0"/>
                    </a:cubicBezTo>
                    <a:lnTo>
                      <a:pt x="0" y="315"/>
                    </a:ln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91" name="Freeform 1097">
                <a:extLst>
                  <a:ext uri="{FF2B5EF4-FFF2-40B4-BE49-F238E27FC236}">
                    <a16:creationId xmlns:a16="http://schemas.microsoft.com/office/drawing/2014/main" id="{236D46DE-EFE7-43FA-A65F-56E092807C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41956" y="12729603"/>
                <a:ext cx="239306" cy="239285"/>
              </a:xfrm>
              <a:custGeom>
                <a:avLst/>
                <a:gdLst>
                  <a:gd name="T0" fmla="*/ 78 w 85"/>
                  <a:gd name="T1" fmla="*/ 48 h 83"/>
                  <a:gd name="T2" fmla="*/ 78 w 85"/>
                  <a:gd name="T3" fmla="*/ 48 h 83"/>
                  <a:gd name="T4" fmla="*/ 51 w 85"/>
                  <a:gd name="T5" fmla="*/ 27 h 83"/>
                  <a:gd name="T6" fmla="*/ 42 w 85"/>
                  <a:gd name="T7" fmla="*/ 21 h 83"/>
                  <a:gd name="T8" fmla="*/ 15 w 85"/>
                  <a:gd name="T9" fmla="*/ 3 h 83"/>
                  <a:gd name="T10" fmla="*/ 15 w 85"/>
                  <a:gd name="T11" fmla="*/ 0 h 83"/>
                  <a:gd name="T12" fmla="*/ 12 w 85"/>
                  <a:gd name="T13" fmla="*/ 0 h 83"/>
                  <a:gd name="T14" fmla="*/ 6 w 85"/>
                  <a:gd name="T15" fmla="*/ 15 h 83"/>
                  <a:gd name="T16" fmla="*/ 3 w 85"/>
                  <a:gd name="T17" fmla="*/ 21 h 83"/>
                  <a:gd name="T18" fmla="*/ 0 w 85"/>
                  <a:gd name="T19" fmla="*/ 57 h 83"/>
                  <a:gd name="T20" fmla="*/ 33 w 85"/>
                  <a:gd name="T21" fmla="*/ 82 h 83"/>
                  <a:gd name="T22" fmla="*/ 63 w 85"/>
                  <a:gd name="T23" fmla="*/ 63 h 83"/>
                  <a:gd name="T24" fmla="*/ 69 w 85"/>
                  <a:gd name="T25" fmla="*/ 60 h 83"/>
                  <a:gd name="T26" fmla="*/ 84 w 85"/>
                  <a:gd name="T27" fmla="*/ 51 h 83"/>
                  <a:gd name="T28" fmla="*/ 81 w 85"/>
                  <a:gd name="T29" fmla="*/ 48 h 83"/>
                  <a:gd name="T30" fmla="*/ 78 w 85"/>
                  <a:gd name="T31" fmla="*/ 48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" h="83">
                    <a:moveTo>
                      <a:pt x="78" y="48"/>
                    </a:moveTo>
                    <a:lnTo>
                      <a:pt x="78" y="48"/>
                    </a:lnTo>
                    <a:cubicBezTo>
                      <a:pt x="69" y="45"/>
                      <a:pt x="57" y="36"/>
                      <a:pt x="51" y="27"/>
                    </a:cubicBezTo>
                    <a:cubicBezTo>
                      <a:pt x="42" y="21"/>
                      <a:pt x="42" y="21"/>
                      <a:pt x="42" y="21"/>
                    </a:cubicBezTo>
                    <a:cubicBezTo>
                      <a:pt x="33" y="18"/>
                      <a:pt x="21" y="9"/>
                      <a:pt x="15" y="3"/>
                    </a:cubicBezTo>
                    <a:lnTo>
                      <a:pt x="15" y="0"/>
                    </a:ln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6"/>
                      <a:pt x="6" y="15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9" y="60"/>
                      <a:pt x="24" y="66"/>
                      <a:pt x="33" y="82"/>
                    </a:cubicBezTo>
                    <a:cubicBezTo>
                      <a:pt x="63" y="63"/>
                      <a:pt x="63" y="63"/>
                      <a:pt x="63" y="63"/>
                    </a:cubicBezTo>
                    <a:cubicBezTo>
                      <a:pt x="69" y="60"/>
                      <a:pt x="69" y="60"/>
                      <a:pt x="69" y="60"/>
                    </a:cubicBezTo>
                    <a:cubicBezTo>
                      <a:pt x="78" y="57"/>
                      <a:pt x="81" y="54"/>
                      <a:pt x="84" y="51"/>
                    </a:cubicBezTo>
                    <a:cubicBezTo>
                      <a:pt x="81" y="48"/>
                      <a:pt x="81" y="48"/>
                      <a:pt x="81" y="48"/>
                    </a:cubicBezTo>
                    <a:cubicBezTo>
                      <a:pt x="81" y="48"/>
                      <a:pt x="81" y="48"/>
                      <a:pt x="78" y="48"/>
                    </a:cubicBezTo>
                  </a:path>
                </a:pathLst>
              </a:custGeom>
              <a:solidFill>
                <a:srgbClr val="FCB415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243770" tIns="121885" rIns="243770" bIns="121885" anchor="ctr"/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</p:grpSp>
        <p:grpSp>
          <p:nvGrpSpPr>
            <p:cNvPr id="119" name="Group 37">
              <a:extLst>
                <a:ext uri="{FF2B5EF4-FFF2-40B4-BE49-F238E27FC236}">
                  <a16:creationId xmlns:a16="http://schemas.microsoft.com/office/drawing/2014/main" id="{44FF734B-BCBE-4B0A-BA1A-26FD2EC58CE1}"/>
                </a:ext>
              </a:extLst>
            </p:cNvPr>
            <p:cNvGrpSpPr/>
            <p:nvPr/>
          </p:nvGrpSpPr>
          <p:grpSpPr>
            <a:xfrm rot="19385170">
              <a:off x="3988335" y="6990732"/>
              <a:ext cx="828523" cy="1189633"/>
              <a:chOff x="18561758" y="2385889"/>
              <a:chExt cx="2160750" cy="3102509"/>
            </a:xfrm>
          </p:grpSpPr>
          <p:sp>
            <p:nvSpPr>
              <p:cNvPr id="162" name="Freeform 277">
                <a:extLst>
                  <a:ext uri="{FF2B5EF4-FFF2-40B4-BE49-F238E27FC236}">
                    <a16:creationId xmlns:a16="http://schemas.microsoft.com/office/drawing/2014/main" id="{1B22067E-8A4D-47B9-BEF6-D2241FE10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1758" y="2385889"/>
                <a:ext cx="2160750" cy="3102509"/>
              </a:xfrm>
              <a:custGeom>
                <a:avLst/>
                <a:gdLst>
                  <a:gd name="T0" fmla="*/ 0 w 366"/>
                  <a:gd name="T1" fmla="*/ 494 h 527"/>
                  <a:gd name="T2" fmla="*/ 34 w 366"/>
                  <a:gd name="T3" fmla="*/ 527 h 527"/>
                  <a:gd name="T4" fmla="*/ 333 w 366"/>
                  <a:gd name="T5" fmla="*/ 527 h 527"/>
                  <a:gd name="T6" fmla="*/ 366 w 366"/>
                  <a:gd name="T7" fmla="*/ 494 h 527"/>
                  <a:gd name="T8" fmla="*/ 366 w 366"/>
                  <a:gd name="T9" fmla="*/ 34 h 527"/>
                  <a:gd name="T10" fmla="*/ 333 w 366"/>
                  <a:gd name="T11" fmla="*/ 0 h 527"/>
                  <a:gd name="T12" fmla="*/ 34 w 366"/>
                  <a:gd name="T13" fmla="*/ 0 h 527"/>
                  <a:gd name="T14" fmla="*/ 0 w 366"/>
                  <a:gd name="T15" fmla="*/ 34 h 527"/>
                  <a:gd name="T16" fmla="*/ 0 w 366"/>
                  <a:gd name="T17" fmla="*/ 494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6" h="527">
                    <a:moveTo>
                      <a:pt x="0" y="494"/>
                    </a:moveTo>
                    <a:cubicBezTo>
                      <a:pt x="0" y="512"/>
                      <a:pt x="15" y="527"/>
                      <a:pt x="34" y="527"/>
                    </a:cubicBezTo>
                    <a:cubicBezTo>
                      <a:pt x="333" y="527"/>
                      <a:pt x="333" y="527"/>
                      <a:pt x="333" y="527"/>
                    </a:cubicBezTo>
                    <a:cubicBezTo>
                      <a:pt x="351" y="527"/>
                      <a:pt x="366" y="512"/>
                      <a:pt x="366" y="494"/>
                    </a:cubicBezTo>
                    <a:cubicBezTo>
                      <a:pt x="366" y="34"/>
                      <a:pt x="366" y="34"/>
                      <a:pt x="366" y="34"/>
                    </a:cubicBezTo>
                    <a:cubicBezTo>
                      <a:pt x="366" y="15"/>
                      <a:pt x="351" y="0"/>
                      <a:pt x="333" y="0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15" y="0"/>
                      <a:pt x="0" y="15"/>
                      <a:pt x="0" y="34"/>
                    </a:cubicBezTo>
                    <a:lnTo>
                      <a:pt x="0" y="494"/>
                    </a:lnTo>
                    <a:close/>
                  </a:path>
                </a:pathLst>
              </a:custGeom>
              <a:solidFill>
                <a:srgbClr val="2D353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3" name="Rectangle 278">
                <a:extLst>
                  <a:ext uri="{FF2B5EF4-FFF2-40B4-BE49-F238E27FC236}">
                    <a16:creationId xmlns:a16="http://schemas.microsoft.com/office/drawing/2014/main" id="{FFC31B54-258D-4ED0-9DB6-7E3A98EF9C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721666" y="2532620"/>
                <a:ext cx="1842254" cy="272047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4" name="Freeform 281">
                <a:extLst>
                  <a:ext uri="{FF2B5EF4-FFF2-40B4-BE49-F238E27FC236}">
                    <a16:creationId xmlns:a16="http://schemas.microsoft.com/office/drawing/2014/main" id="{DBEE8E92-3B92-40F3-A0F4-27B3600DE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15497" y="3457953"/>
                <a:ext cx="1671773" cy="1718475"/>
              </a:xfrm>
              <a:custGeom>
                <a:avLst/>
                <a:gdLst>
                  <a:gd name="T0" fmla="*/ 278 w 283"/>
                  <a:gd name="T1" fmla="*/ 292 h 292"/>
                  <a:gd name="T2" fmla="*/ 5 w 283"/>
                  <a:gd name="T3" fmla="*/ 292 h 292"/>
                  <a:gd name="T4" fmla="*/ 0 w 283"/>
                  <a:gd name="T5" fmla="*/ 287 h 292"/>
                  <a:gd name="T6" fmla="*/ 5 w 283"/>
                  <a:gd name="T7" fmla="*/ 283 h 292"/>
                  <a:gd name="T8" fmla="*/ 274 w 283"/>
                  <a:gd name="T9" fmla="*/ 283 h 292"/>
                  <a:gd name="T10" fmla="*/ 274 w 283"/>
                  <a:gd name="T11" fmla="*/ 5 h 292"/>
                  <a:gd name="T12" fmla="*/ 278 w 283"/>
                  <a:gd name="T13" fmla="*/ 0 h 292"/>
                  <a:gd name="T14" fmla="*/ 283 w 283"/>
                  <a:gd name="T15" fmla="*/ 5 h 292"/>
                  <a:gd name="T16" fmla="*/ 283 w 283"/>
                  <a:gd name="T17" fmla="*/ 287 h 292"/>
                  <a:gd name="T18" fmla="*/ 278 w 283"/>
                  <a:gd name="T19" fmla="*/ 29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3" h="292">
                    <a:moveTo>
                      <a:pt x="278" y="292"/>
                    </a:moveTo>
                    <a:cubicBezTo>
                      <a:pt x="5" y="292"/>
                      <a:pt x="5" y="292"/>
                      <a:pt x="5" y="292"/>
                    </a:cubicBezTo>
                    <a:cubicBezTo>
                      <a:pt x="2" y="292"/>
                      <a:pt x="0" y="290"/>
                      <a:pt x="0" y="287"/>
                    </a:cubicBezTo>
                    <a:cubicBezTo>
                      <a:pt x="0" y="285"/>
                      <a:pt x="2" y="283"/>
                      <a:pt x="5" y="283"/>
                    </a:cubicBezTo>
                    <a:cubicBezTo>
                      <a:pt x="274" y="283"/>
                      <a:pt x="274" y="283"/>
                      <a:pt x="274" y="283"/>
                    </a:cubicBezTo>
                    <a:cubicBezTo>
                      <a:pt x="274" y="5"/>
                      <a:pt x="274" y="5"/>
                      <a:pt x="274" y="5"/>
                    </a:cubicBezTo>
                    <a:cubicBezTo>
                      <a:pt x="274" y="2"/>
                      <a:pt x="276" y="0"/>
                      <a:pt x="278" y="0"/>
                    </a:cubicBezTo>
                    <a:cubicBezTo>
                      <a:pt x="281" y="0"/>
                      <a:pt x="283" y="2"/>
                      <a:pt x="283" y="5"/>
                    </a:cubicBezTo>
                    <a:cubicBezTo>
                      <a:pt x="283" y="287"/>
                      <a:pt x="283" y="287"/>
                      <a:pt x="283" y="287"/>
                    </a:cubicBezTo>
                    <a:cubicBezTo>
                      <a:pt x="283" y="290"/>
                      <a:pt x="281" y="292"/>
                      <a:pt x="278" y="292"/>
                    </a:cubicBezTo>
                    <a:close/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5" name="Freeform 282">
                <a:extLst>
                  <a:ext uri="{FF2B5EF4-FFF2-40B4-BE49-F238E27FC236}">
                    <a16:creationId xmlns:a16="http://schemas.microsoft.com/office/drawing/2014/main" id="{DD1A2737-F894-466F-8EC3-F283A8ECB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7787" y="2822118"/>
                <a:ext cx="1433892" cy="70061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10"/>
                      <a:pt x="240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0" y="0"/>
                      <a:pt x="243" y="3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6" name="Freeform 283">
                <a:extLst>
                  <a:ext uri="{FF2B5EF4-FFF2-40B4-BE49-F238E27FC236}">
                    <a16:creationId xmlns:a16="http://schemas.microsoft.com/office/drawing/2014/main" id="{11E590F6-D94F-4DF8-AAAD-15227FF25A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1179" y="2939767"/>
                <a:ext cx="796900" cy="70061"/>
              </a:xfrm>
              <a:custGeom>
                <a:avLst/>
                <a:gdLst>
                  <a:gd name="T0" fmla="*/ 129 w 135"/>
                  <a:gd name="T1" fmla="*/ 0 h 12"/>
                  <a:gd name="T2" fmla="*/ 6 w 135"/>
                  <a:gd name="T3" fmla="*/ 0 h 12"/>
                  <a:gd name="T4" fmla="*/ 0 w 135"/>
                  <a:gd name="T5" fmla="*/ 6 h 12"/>
                  <a:gd name="T6" fmla="*/ 6 w 135"/>
                  <a:gd name="T7" fmla="*/ 12 h 12"/>
                  <a:gd name="T8" fmla="*/ 129 w 135"/>
                  <a:gd name="T9" fmla="*/ 12 h 12"/>
                  <a:gd name="T10" fmla="*/ 135 w 135"/>
                  <a:gd name="T11" fmla="*/ 6 h 12"/>
                  <a:gd name="T12" fmla="*/ 129 w 135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12">
                    <a:moveTo>
                      <a:pt x="12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129" y="12"/>
                      <a:pt x="129" y="12"/>
                      <a:pt x="129" y="12"/>
                    </a:cubicBezTo>
                    <a:cubicBezTo>
                      <a:pt x="132" y="12"/>
                      <a:pt x="135" y="9"/>
                      <a:pt x="135" y="6"/>
                    </a:cubicBezTo>
                    <a:cubicBezTo>
                      <a:pt x="135" y="3"/>
                      <a:pt x="132" y="0"/>
                      <a:pt x="129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7" name="Freeform 284">
                <a:extLst>
                  <a:ext uri="{FF2B5EF4-FFF2-40B4-BE49-F238E27FC236}">
                    <a16:creationId xmlns:a16="http://schemas.microsoft.com/office/drawing/2014/main" id="{A64781FF-44E5-4B5F-BE51-22E399ADC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2836" y="2945054"/>
                <a:ext cx="377966" cy="64773"/>
              </a:xfrm>
              <a:custGeom>
                <a:avLst/>
                <a:gdLst>
                  <a:gd name="T0" fmla="*/ 59 w 64"/>
                  <a:gd name="T1" fmla="*/ 0 h 11"/>
                  <a:gd name="T2" fmla="*/ 6 w 64"/>
                  <a:gd name="T3" fmla="*/ 0 h 11"/>
                  <a:gd name="T4" fmla="*/ 0 w 64"/>
                  <a:gd name="T5" fmla="*/ 5 h 11"/>
                  <a:gd name="T6" fmla="*/ 6 w 64"/>
                  <a:gd name="T7" fmla="*/ 11 h 11"/>
                  <a:gd name="T8" fmla="*/ 59 w 64"/>
                  <a:gd name="T9" fmla="*/ 11 h 11"/>
                  <a:gd name="T10" fmla="*/ 64 w 64"/>
                  <a:gd name="T11" fmla="*/ 5 h 11"/>
                  <a:gd name="T12" fmla="*/ 59 w 64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1">
                    <a:moveTo>
                      <a:pt x="5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5"/>
                    </a:cubicBezTo>
                    <a:cubicBezTo>
                      <a:pt x="0" y="8"/>
                      <a:pt x="3" y="11"/>
                      <a:pt x="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62" y="11"/>
                      <a:pt x="64" y="8"/>
                      <a:pt x="64" y="5"/>
                    </a:cubicBezTo>
                    <a:cubicBezTo>
                      <a:pt x="64" y="2"/>
                      <a:pt x="62" y="0"/>
                      <a:pt x="59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8" name="Freeform 285">
                <a:extLst>
                  <a:ext uri="{FF2B5EF4-FFF2-40B4-BE49-F238E27FC236}">
                    <a16:creationId xmlns:a16="http://schemas.microsoft.com/office/drawing/2014/main" id="{2E4560BC-AC02-4C7B-8C7B-A04F75139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7787" y="3057417"/>
                <a:ext cx="1433892" cy="70061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10"/>
                      <a:pt x="241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1" y="0"/>
                      <a:pt x="243" y="3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9" name="Freeform 286">
                <a:extLst>
                  <a:ext uri="{FF2B5EF4-FFF2-40B4-BE49-F238E27FC236}">
                    <a16:creationId xmlns:a16="http://schemas.microsoft.com/office/drawing/2014/main" id="{B78BCBC0-D2FD-4CD9-9505-853A571E8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2008" y="3192251"/>
                <a:ext cx="377966" cy="59485"/>
              </a:xfrm>
              <a:custGeom>
                <a:avLst/>
                <a:gdLst>
                  <a:gd name="T0" fmla="*/ 64 w 64"/>
                  <a:gd name="T1" fmla="*/ 5 h 10"/>
                  <a:gd name="T2" fmla="*/ 58 w 64"/>
                  <a:gd name="T3" fmla="*/ 10 h 10"/>
                  <a:gd name="T4" fmla="*/ 6 w 64"/>
                  <a:gd name="T5" fmla="*/ 10 h 10"/>
                  <a:gd name="T6" fmla="*/ 0 w 64"/>
                  <a:gd name="T7" fmla="*/ 5 h 10"/>
                  <a:gd name="T8" fmla="*/ 0 w 64"/>
                  <a:gd name="T9" fmla="*/ 5 h 10"/>
                  <a:gd name="T10" fmla="*/ 6 w 64"/>
                  <a:gd name="T11" fmla="*/ 0 h 10"/>
                  <a:gd name="T12" fmla="*/ 58 w 64"/>
                  <a:gd name="T13" fmla="*/ 0 h 10"/>
                  <a:gd name="T14" fmla="*/ 64 w 6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10">
                    <a:moveTo>
                      <a:pt x="64" y="5"/>
                    </a:moveTo>
                    <a:cubicBezTo>
                      <a:pt x="64" y="8"/>
                      <a:pt x="61" y="10"/>
                      <a:pt x="58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3" y="10"/>
                      <a:pt x="0" y="8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1" y="0"/>
                      <a:pt x="64" y="2"/>
                      <a:pt x="64" y="5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0" name="Freeform 287">
                <a:extLst>
                  <a:ext uri="{FF2B5EF4-FFF2-40B4-BE49-F238E27FC236}">
                    <a16:creationId xmlns:a16="http://schemas.microsoft.com/office/drawing/2014/main" id="{758D7107-6BB2-4DC8-BC43-EE2D4B98F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7787" y="3192251"/>
                <a:ext cx="371358" cy="59485"/>
              </a:xfrm>
              <a:custGeom>
                <a:avLst/>
                <a:gdLst>
                  <a:gd name="T0" fmla="*/ 58 w 63"/>
                  <a:gd name="T1" fmla="*/ 0 h 10"/>
                  <a:gd name="T2" fmla="*/ 5 w 63"/>
                  <a:gd name="T3" fmla="*/ 0 h 10"/>
                  <a:gd name="T4" fmla="*/ 0 w 63"/>
                  <a:gd name="T5" fmla="*/ 5 h 10"/>
                  <a:gd name="T6" fmla="*/ 5 w 63"/>
                  <a:gd name="T7" fmla="*/ 10 h 10"/>
                  <a:gd name="T8" fmla="*/ 58 w 63"/>
                  <a:gd name="T9" fmla="*/ 10 h 10"/>
                  <a:gd name="T10" fmla="*/ 63 w 63"/>
                  <a:gd name="T11" fmla="*/ 5 h 10"/>
                  <a:gd name="T12" fmla="*/ 58 w 63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10">
                    <a:moveTo>
                      <a:pt x="5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8"/>
                      <a:pt x="2" y="10"/>
                      <a:pt x="5" y="10"/>
                    </a:cubicBezTo>
                    <a:cubicBezTo>
                      <a:pt x="58" y="10"/>
                      <a:pt x="58" y="10"/>
                      <a:pt x="58" y="10"/>
                    </a:cubicBezTo>
                    <a:cubicBezTo>
                      <a:pt x="61" y="10"/>
                      <a:pt x="63" y="8"/>
                      <a:pt x="63" y="5"/>
                    </a:cubicBezTo>
                    <a:cubicBezTo>
                      <a:pt x="63" y="2"/>
                      <a:pt x="61" y="0"/>
                      <a:pt x="58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1" name="Freeform 288">
                <a:extLst>
                  <a:ext uri="{FF2B5EF4-FFF2-40B4-BE49-F238E27FC236}">
                    <a16:creationId xmlns:a16="http://schemas.microsoft.com/office/drawing/2014/main" id="{CA75D18A-38D3-48A1-BB25-FEFFC0D5B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45893" y="3357488"/>
                <a:ext cx="1433892" cy="70061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9"/>
                      <a:pt x="241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1" y="0"/>
                      <a:pt x="243" y="3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2" name="Freeform 289">
                <a:extLst>
                  <a:ext uri="{FF2B5EF4-FFF2-40B4-BE49-F238E27FC236}">
                    <a16:creationId xmlns:a16="http://schemas.microsoft.com/office/drawing/2014/main" id="{BFAC54F2-8528-483D-81D5-985C9D0516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9286" y="3475138"/>
                <a:ext cx="796900" cy="64773"/>
              </a:xfrm>
              <a:custGeom>
                <a:avLst/>
                <a:gdLst>
                  <a:gd name="T0" fmla="*/ 130 w 135"/>
                  <a:gd name="T1" fmla="*/ 0 h 11"/>
                  <a:gd name="T2" fmla="*/ 6 w 135"/>
                  <a:gd name="T3" fmla="*/ 0 h 11"/>
                  <a:gd name="T4" fmla="*/ 0 w 135"/>
                  <a:gd name="T5" fmla="*/ 6 h 11"/>
                  <a:gd name="T6" fmla="*/ 6 w 135"/>
                  <a:gd name="T7" fmla="*/ 11 h 11"/>
                  <a:gd name="T8" fmla="*/ 130 w 135"/>
                  <a:gd name="T9" fmla="*/ 11 h 11"/>
                  <a:gd name="T10" fmla="*/ 135 w 135"/>
                  <a:gd name="T11" fmla="*/ 6 h 11"/>
                  <a:gd name="T12" fmla="*/ 130 w 135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11">
                    <a:moveTo>
                      <a:pt x="130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9"/>
                      <a:pt x="3" y="11"/>
                      <a:pt x="6" y="11"/>
                    </a:cubicBezTo>
                    <a:cubicBezTo>
                      <a:pt x="130" y="11"/>
                      <a:pt x="130" y="11"/>
                      <a:pt x="130" y="11"/>
                    </a:cubicBezTo>
                    <a:cubicBezTo>
                      <a:pt x="133" y="11"/>
                      <a:pt x="135" y="9"/>
                      <a:pt x="135" y="6"/>
                    </a:cubicBezTo>
                    <a:cubicBezTo>
                      <a:pt x="135" y="2"/>
                      <a:pt x="133" y="0"/>
                      <a:pt x="130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3" name="Freeform 290">
                <a:extLst>
                  <a:ext uri="{FF2B5EF4-FFF2-40B4-BE49-F238E27FC236}">
                    <a16:creationId xmlns:a16="http://schemas.microsoft.com/office/drawing/2014/main" id="{781B61FD-C766-4347-861E-F62BA5829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07550" y="3475138"/>
                <a:ext cx="371358" cy="64773"/>
              </a:xfrm>
              <a:custGeom>
                <a:avLst/>
                <a:gdLst>
                  <a:gd name="T0" fmla="*/ 58 w 63"/>
                  <a:gd name="T1" fmla="*/ 0 h 11"/>
                  <a:gd name="T2" fmla="*/ 5 w 63"/>
                  <a:gd name="T3" fmla="*/ 0 h 11"/>
                  <a:gd name="T4" fmla="*/ 0 w 63"/>
                  <a:gd name="T5" fmla="*/ 6 h 11"/>
                  <a:gd name="T6" fmla="*/ 5 w 63"/>
                  <a:gd name="T7" fmla="*/ 11 h 11"/>
                  <a:gd name="T8" fmla="*/ 58 w 63"/>
                  <a:gd name="T9" fmla="*/ 11 h 11"/>
                  <a:gd name="T10" fmla="*/ 63 w 63"/>
                  <a:gd name="T11" fmla="*/ 6 h 11"/>
                  <a:gd name="T12" fmla="*/ 58 w 63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11">
                    <a:moveTo>
                      <a:pt x="5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1"/>
                      <a:pt x="5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61" y="11"/>
                      <a:pt x="63" y="9"/>
                      <a:pt x="63" y="6"/>
                    </a:cubicBezTo>
                    <a:cubicBezTo>
                      <a:pt x="63" y="3"/>
                      <a:pt x="61" y="0"/>
                      <a:pt x="58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4" name="Freeform 291">
                <a:extLst>
                  <a:ext uri="{FF2B5EF4-FFF2-40B4-BE49-F238E27FC236}">
                    <a16:creationId xmlns:a16="http://schemas.microsoft.com/office/drawing/2014/main" id="{A32CBDA5-2DC9-4589-B4E8-FDE2780A8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51179" y="3592787"/>
                <a:ext cx="1435214" cy="71383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9"/>
                      <a:pt x="240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0" y="0"/>
                      <a:pt x="243" y="3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5" name="Freeform 292">
                <a:extLst>
                  <a:ext uri="{FF2B5EF4-FFF2-40B4-BE49-F238E27FC236}">
                    <a16:creationId xmlns:a16="http://schemas.microsoft.com/office/drawing/2014/main" id="{32762014-D233-459F-B98D-063A2E483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6721" y="3722334"/>
                <a:ext cx="371358" cy="64773"/>
              </a:xfrm>
              <a:custGeom>
                <a:avLst/>
                <a:gdLst>
                  <a:gd name="T0" fmla="*/ 63 w 63"/>
                  <a:gd name="T1" fmla="*/ 6 h 11"/>
                  <a:gd name="T2" fmla="*/ 58 w 63"/>
                  <a:gd name="T3" fmla="*/ 11 h 11"/>
                  <a:gd name="T4" fmla="*/ 5 w 63"/>
                  <a:gd name="T5" fmla="*/ 11 h 11"/>
                  <a:gd name="T6" fmla="*/ 0 w 63"/>
                  <a:gd name="T7" fmla="*/ 6 h 11"/>
                  <a:gd name="T8" fmla="*/ 0 w 63"/>
                  <a:gd name="T9" fmla="*/ 6 h 11"/>
                  <a:gd name="T10" fmla="*/ 5 w 63"/>
                  <a:gd name="T11" fmla="*/ 0 h 11"/>
                  <a:gd name="T12" fmla="*/ 58 w 63"/>
                  <a:gd name="T13" fmla="*/ 0 h 11"/>
                  <a:gd name="T14" fmla="*/ 63 w 63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11">
                    <a:moveTo>
                      <a:pt x="63" y="6"/>
                    </a:moveTo>
                    <a:cubicBezTo>
                      <a:pt x="63" y="9"/>
                      <a:pt x="61" y="11"/>
                      <a:pt x="58" y="11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11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1" y="0"/>
                      <a:pt x="63" y="3"/>
                      <a:pt x="6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6" name="Freeform 293">
                <a:extLst>
                  <a:ext uri="{FF2B5EF4-FFF2-40B4-BE49-F238E27FC236}">
                    <a16:creationId xmlns:a16="http://schemas.microsoft.com/office/drawing/2014/main" id="{2A370E67-6012-47CD-8E6A-844EB30AE1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45893" y="3722334"/>
                <a:ext cx="377966" cy="64773"/>
              </a:xfrm>
              <a:custGeom>
                <a:avLst/>
                <a:gdLst>
                  <a:gd name="T0" fmla="*/ 58 w 64"/>
                  <a:gd name="T1" fmla="*/ 0 h 11"/>
                  <a:gd name="T2" fmla="*/ 5 w 64"/>
                  <a:gd name="T3" fmla="*/ 0 h 11"/>
                  <a:gd name="T4" fmla="*/ 0 w 64"/>
                  <a:gd name="T5" fmla="*/ 6 h 11"/>
                  <a:gd name="T6" fmla="*/ 5 w 64"/>
                  <a:gd name="T7" fmla="*/ 11 h 11"/>
                  <a:gd name="T8" fmla="*/ 58 w 64"/>
                  <a:gd name="T9" fmla="*/ 11 h 11"/>
                  <a:gd name="T10" fmla="*/ 64 w 64"/>
                  <a:gd name="T11" fmla="*/ 6 h 11"/>
                  <a:gd name="T12" fmla="*/ 58 w 64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1">
                    <a:moveTo>
                      <a:pt x="5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1"/>
                      <a:pt x="5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61" y="11"/>
                      <a:pt x="64" y="9"/>
                      <a:pt x="64" y="6"/>
                    </a:cubicBezTo>
                    <a:cubicBezTo>
                      <a:pt x="64" y="3"/>
                      <a:pt x="61" y="0"/>
                      <a:pt x="58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7" name="Freeform 294">
                <a:extLst>
                  <a:ext uri="{FF2B5EF4-FFF2-40B4-BE49-F238E27FC236}">
                    <a16:creationId xmlns:a16="http://schemas.microsoft.com/office/drawing/2014/main" id="{2FA06C77-9F02-40AB-80C8-EA370CCF7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9286" y="4576284"/>
                <a:ext cx="1435214" cy="70061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9"/>
                      <a:pt x="240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0" y="0"/>
                      <a:pt x="243" y="2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8" name="Freeform 295">
                <a:extLst>
                  <a:ext uri="{FF2B5EF4-FFF2-40B4-BE49-F238E27FC236}">
                    <a16:creationId xmlns:a16="http://schemas.microsoft.com/office/drawing/2014/main" id="{97C55A14-5E66-4774-999C-52A170B03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3999" y="4693934"/>
                <a:ext cx="796900" cy="64773"/>
              </a:xfrm>
              <a:custGeom>
                <a:avLst/>
                <a:gdLst>
                  <a:gd name="T0" fmla="*/ 129 w 135"/>
                  <a:gd name="T1" fmla="*/ 0 h 11"/>
                  <a:gd name="T2" fmla="*/ 6 w 135"/>
                  <a:gd name="T3" fmla="*/ 0 h 11"/>
                  <a:gd name="T4" fmla="*/ 0 w 135"/>
                  <a:gd name="T5" fmla="*/ 5 h 11"/>
                  <a:gd name="T6" fmla="*/ 6 w 135"/>
                  <a:gd name="T7" fmla="*/ 11 h 11"/>
                  <a:gd name="T8" fmla="*/ 129 w 135"/>
                  <a:gd name="T9" fmla="*/ 11 h 11"/>
                  <a:gd name="T10" fmla="*/ 135 w 135"/>
                  <a:gd name="T11" fmla="*/ 5 h 11"/>
                  <a:gd name="T12" fmla="*/ 129 w 135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11">
                    <a:moveTo>
                      <a:pt x="12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9"/>
                      <a:pt x="2" y="11"/>
                      <a:pt x="6" y="11"/>
                    </a:cubicBezTo>
                    <a:cubicBezTo>
                      <a:pt x="129" y="11"/>
                      <a:pt x="129" y="11"/>
                      <a:pt x="129" y="11"/>
                    </a:cubicBezTo>
                    <a:cubicBezTo>
                      <a:pt x="132" y="11"/>
                      <a:pt x="135" y="9"/>
                      <a:pt x="135" y="5"/>
                    </a:cubicBezTo>
                    <a:cubicBezTo>
                      <a:pt x="135" y="2"/>
                      <a:pt x="132" y="0"/>
                      <a:pt x="129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79" name="Freeform 296">
                <a:extLst>
                  <a:ext uri="{FF2B5EF4-FFF2-40B4-BE49-F238E27FC236}">
                    <a16:creationId xmlns:a16="http://schemas.microsoft.com/office/drawing/2014/main" id="{106A0ADB-10E4-42DF-B7CC-6776E9648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5656" y="4693934"/>
                <a:ext cx="377966" cy="64773"/>
              </a:xfrm>
              <a:custGeom>
                <a:avLst/>
                <a:gdLst>
                  <a:gd name="T0" fmla="*/ 59 w 64"/>
                  <a:gd name="T1" fmla="*/ 0 h 11"/>
                  <a:gd name="T2" fmla="*/ 6 w 64"/>
                  <a:gd name="T3" fmla="*/ 0 h 11"/>
                  <a:gd name="T4" fmla="*/ 0 w 64"/>
                  <a:gd name="T5" fmla="*/ 6 h 11"/>
                  <a:gd name="T6" fmla="*/ 6 w 64"/>
                  <a:gd name="T7" fmla="*/ 11 h 11"/>
                  <a:gd name="T8" fmla="*/ 59 w 64"/>
                  <a:gd name="T9" fmla="*/ 11 h 11"/>
                  <a:gd name="T10" fmla="*/ 64 w 64"/>
                  <a:gd name="T11" fmla="*/ 6 h 11"/>
                  <a:gd name="T12" fmla="*/ 59 w 64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1">
                    <a:moveTo>
                      <a:pt x="59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1"/>
                      <a:pt x="6" y="11"/>
                    </a:cubicBezTo>
                    <a:cubicBezTo>
                      <a:pt x="59" y="11"/>
                      <a:pt x="59" y="11"/>
                      <a:pt x="59" y="11"/>
                    </a:cubicBezTo>
                    <a:cubicBezTo>
                      <a:pt x="62" y="11"/>
                      <a:pt x="64" y="9"/>
                      <a:pt x="64" y="6"/>
                    </a:cubicBezTo>
                    <a:cubicBezTo>
                      <a:pt x="64" y="3"/>
                      <a:pt x="62" y="0"/>
                      <a:pt x="59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0" name="Freeform 297">
                <a:extLst>
                  <a:ext uri="{FF2B5EF4-FFF2-40B4-BE49-F238E27FC236}">
                    <a16:creationId xmlns:a16="http://schemas.microsoft.com/office/drawing/2014/main" id="{52B6B37F-5D8F-44E1-97A6-3794F627B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9286" y="4811583"/>
                <a:ext cx="1435214" cy="71383"/>
              </a:xfrm>
              <a:custGeom>
                <a:avLst/>
                <a:gdLst>
                  <a:gd name="T0" fmla="*/ 243 w 243"/>
                  <a:gd name="T1" fmla="*/ 6 h 12"/>
                  <a:gd name="T2" fmla="*/ 237 w 243"/>
                  <a:gd name="T3" fmla="*/ 12 h 12"/>
                  <a:gd name="T4" fmla="*/ 6 w 243"/>
                  <a:gd name="T5" fmla="*/ 12 h 12"/>
                  <a:gd name="T6" fmla="*/ 0 w 243"/>
                  <a:gd name="T7" fmla="*/ 6 h 12"/>
                  <a:gd name="T8" fmla="*/ 0 w 243"/>
                  <a:gd name="T9" fmla="*/ 6 h 12"/>
                  <a:gd name="T10" fmla="*/ 6 w 243"/>
                  <a:gd name="T11" fmla="*/ 0 h 12"/>
                  <a:gd name="T12" fmla="*/ 237 w 243"/>
                  <a:gd name="T13" fmla="*/ 0 h 12"/>
                  <a:gd name="T14" fmla="*/ 243 w 243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3" h="12">
                    <a:moveTo>
                      <a:pt x="243" y="6"/>
                    </a:moveTo>
                    <a:cubicBezTo>
                      <a:pt x="243" y="9"/>
                      <a:pt x="241" y="12"/>
                      <a:pt x="23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237" y="0"/>
                      <a:pt x="237" y="0"/>
                      <a:pt x="237" y="0"/>
                    </a:cubicBezTo>
                    <a:cubicBezTo>
                      <a:pt x="241" y="0"/>
                      <a:pt x="243" y="2"/>
                      <a:pt x="243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1" name="Freeform 298">
                <a:extLst>
                  <a:ext uri="{FF2B5EF4-FFF2-40B4-BE49-F238E27FC236}">
                    <a16:creationId xmlns:a16="http://schemas.microsoft.com/office/drawing/2014/main" id="{E4B2833C-9D58-4239-8DBC-5C654DD14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64828" y="4941130"/>
                <a:ext cx="377966" cy="64773"/>
              </a:xfrm>
              <a:custGeom>
                <a:avLst/>
                <a:gdLst>
                  <a:gd name="T0" fmla="*/ 64 w 64"/>
                  <a:gd name="T1" fmla="*/ 6 h 11"/>
                  <a:gd name="T2" fmla="*/ 58 w 64"/>
                  <a:gd name="T3" fmla="*/ 11 h 11"/>
                  <a:gd name="T4" fmla="*/ 6 w 64"/>
                  <a:gd name="T5" fmla="*/ 11 h 11"/>
                  <a:gd name="T6" fmla="*/ 0 w 64"/>
                  <a:gd name="T7" fmla="*/ 6 h 11"/>
                  <a:gd name="T8" fmla="*/ 0 w 64"/>
                  <a:gd name="T9" fmla="*/ 6 h 11"/>
                  <a:gd name="T10" fmla="*/ 6 w 64"/>
                  <a:gd name="T11" fmla="*/ 0 h 11"/>
                  <a:gd name="T12" fmla="*/ 58 w 64"/>
                  <a:gd name="T13" fmla="*/ 0 h 11"/>
                  <a:gd name="T14" fmla="*/ 64 w 64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11">
                    <a:moveTo>
                      <a:pt x="64" y="6"/>
                    </a:moveTo>
                    <a:cubicBezTo>
                      <a:pt x="64" y="9"/>
                      <a:pt x="61" y="11"/>
                      <a:pt x="58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3" y="11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1" y="0"/>
                      <a:pt x="64" y="3"/>
                      <a:pt x="64" y="6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2" name="Freeform 299">
                <a:extLst>
                  <a:ext uri="{FF2B5EF4-FFF2-40B4-BE49-F238E27FC236}">
                    <a16:creationId xmlns:a16="http://schemas.microsoft.com/office/drawing/2014/main" id="{79A8C9F9-8AD9-46EA-AE6B-2F142AB26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9286" y="4941130"/>
                <a:ext cx="372680" cy="64773"/>
              </a:xfrm>
              <a:custGeom>
                <a:avLst/>
                <a:gdLst>
                  <a:gd name="T0" fmla="*/ 58 w 63"/>
                  <a:gd name="T1" fmla="*/ 0 h 11"/>
                  <a:gd name="T2" fmla="*/ 5 w 63"/>
                  <a:gd name="T3" fmla="*/ 0 h 11"/>
                  <a:gd name="T4" fmla="*/ 0 w 63"/>
                  <a:gd name="T5" fmla="*/ 6 h 11"/>
                  <a:gd name="T6" fmla="*/ 5 w 63"/>
                  <a:gd name="T7" fmla="*/ 11 h 11"/>
                  <a:gd name="T8" fmla="*/ 58 w 63"/>
                  <a:gd name="T9" fmla="*/ 11 h 11"/>
                  <a:gd name="T10" fmla="*/ 63 w 63"/>
                  <a:gd name="T11" fmla="*/ 6 h 11"/>
                  <a:gd name="T12" fmla="*/ 58 w 63"/>
                  <a:gd name="T1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" h="11">
                    <a:moveTo>
                      <a:pt x="58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9"/>
                      <a:pt x="2" y="11"/>
                      <a:pt x="5" y="11"/>
                    </a:cubicBezTo>
                    <a:cubicBezTo>
                      <a:pt x="58" y="11"/>
                      <a:pt x="58" y="11"/>
                      <a:pt x="58" y="11"/>
                    </a:cubicBezTo>
                    <a:cubicBezTo>
                      <a:pt x="61" y="11"/>
                      <a:pt x="63" y="9"/>
                      <a:pt x="63" y="6"/>
                    </a:cubicBezTo>
                    <a:cubicBezTo>
                      <a:pt x="63" y="3"/>
                      <a:pt x="61" y="0"/>
                      <a:pt x="58" y="0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3" name="Freeform 300">
                <a:extLst>
                  <a:ext uri="{FF2B5EF4-FFF2-40B4-BE49-F238E27FC236}">
                    <a16:creationId xmlns:a16="http://schemas.microsoft.com/office/drawing/2014/main" id="{26932CE9-721D-42AD-A0C2-B4633A2C7D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69681" y="3875675"/>
                <a:ext cx="1392924" cy="606754"/>
              </a:xfrm>
              <a:custGeom>
                <a:avLst/>
                <a:gdLst>
                  <a:gd name="T0" fmla="*/ 5 w 236"/>
                  <a:gd name="T1" fmla="*/ 103 h 103"/>
                  <a:gd name="T2" fmla="*/ 2 w 236"/>
                  <a:gd name="T3" fmla="*/ 102 h 103"/>
                  <a:gd name="T4" fmla="*/ 2 w 236"/>
                  <a:gd name="T5" fmla="*/ 95 h 103"/>
                  <a:gd name="T6" fmla="*/ 63 w 236"/>
                  <a:gd name="T7" fmla="*/ 29 h 103"/>
                  <a:gd name="T8" fmla="*/ 69 w 236"/>
                  <a:gd name="T9" fmla="*/ 28 h 103"/>
                  <a:gd name="T10" fmla="*/ 145 w 236"/>
                  <a:gd name="T11" fmla="*/ 80 h 103"/>
                  <a:gd name="T12" fmla="*/ 228 w 236"/>
                  <a:gd name="T13" fmla="*/ 1 h 103"/>
                  <a:gd name="T14" fmla="*/ 235 w 236"/>
                  <a:gd name="T15" fmla="*/ 2 h 103"/>
                  <a:gd name="T16" fmla="*/ 235 w 236"/>
                  <a:gd name="T17" fmla="*/ 8 h 103"/>
                  <a:gd name="T18" fmla="*/ 148 w 236"/>
                  <a:gd name="T19" fmla="*/ 90 h 103"/>
                  <a:gd name="T20" fmla="*/ 143 w 236"/>
                  <a:gd name="T21" fmla="*/ 90 h 103"/>
                  <a:gd name="T22" fmla="*/ 67 w 236"/>
                  <a:gd name="T23" fmla="*/ 38 h 103"/>
                  <a:gd name="T24" fmla="*/ 8 w 236"/>
                  <a:gd name="T25" fmla="*/ 101 h 103"/>
                  <a:gd name="T26" fmla="*/ 5 w 236"/>
                  <a:gd name="T27" fmla="*/ 10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6" h="103">
                    <a:moveTo>
                      <a:pt x="5" y="103"/>
                    </a:moveTo>
                    <a:cubicBezTo>
                      <a:pt x="4" y="103"/>
                      <a:pt x="3" y="102"/>
                      <a:pt x="2" y="102"/>
                    </a:cubicBezTo>
                    <a:cubicBezTo>
                      <a:pt x="0" y="100"/>
                      <a:pt x="0" y="97"/>
                      <a:pt x="2" y="95"/>
                    </a:cubicBezTo>
                    <a:cubicBezTo>
                      <a:pt x="63" y="29"/>
                      <a:pt x="63" y="29"/>
                      <a:pt x="63" y="29"/>
                    </a:cubicBezTo>
                    <a:cubicBezTo>
                      <a:pt x="65" y="27"/>
                      <a:pt x="68" y="27"/>
                      <a:pt x="69" y="28"/>
                    </a:cubicBezTo>
                    <a:cubicBezTo>
                      <a:pt x="145" y="80"/>
                      <a:pt x="145" y="80"/>
                      <a:pt x="145" y="8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30" y="0"/>
                      <a:pt x="233" y="0"/>
                      <a:pt x="235" y="2"/>
                    </a:cubicBezTo>
                    <a:cubicBezTo>
                      <a:pt x="236" y="3"/>
                      <a:pt x="236" y="6"/>
                      <a:pt x="235" y="8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5" y="91"/>
                      <a:pt x="143" y="90"/>
                    </a:cubicBezTo>
                    <a:cubicBezTo>
                      <a:pt x="67" y="38"/>
                      <a:pt x="67" y="38"/>
                      <a:pt x="67" y="38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7" y="102"/>
                      <a:pt x="6" y="103"/>
                      <a:pt x="5" y="103"/>
                    </a:cubicBezTo>
                    <a:close/>
                  </a:path>
                </a:pathLst>
              </a:custGeom>
              <a:solidFill>
                <a:srgbClr val="FF735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4" name="Oval 301">
                <a:extLst>
                  <a:ext uri="{FF2B5EF4-FFF2-40B4-BE49-F238E27FC236}">
                    <a16:creationId xmlns:a16="http://schemas.microsoft.com/office/drawing/2014/main" id="{46BBE073-95A6-4480-A947-9C2781FA7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81569" y="3993325"/>
                <a:ext cx="171803" cy="165238"/>
              </a:xfrm>
              <a:prstGeom prst="ellipse">
                <a:avLst/>
              </a:prstGeom>
              <a:solidFill>
                <a:srgbClr val="FF735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85" name="Oval 302">
                <a:extLst>
                  <a:ext uri="{FF2B5EF4-FFF2-40B4-BE49-F238E27FC236}">
                    <a16:creationId xmlns:a16="http://schemas.microsoft.com/office/drawing/2014/main" id="{2AF6BBEC-7A23-47A9-91E1-B28108B1C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59974" y="4276212"/>
                <a:ext cx="171803" cy="163916"/>
              </a:xfrm>
              <a:prstGeom prst="ellipse">
                <a:avLst/>
              </a:prstGeom>
              <a:solidFill>
                <a:srgbClr val="FF735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</p:grpSp>
        <p:grpSp>
          <p:nvGrpSpPr>
            <p:cNvPr id="120" name="Group 38">
              <a:extLst>
                <a:ext uri="{FF2B5EF4-FFF2-40B4-BE49-F238E27FC236}">
                  <a16:creationId xmlns:a16="http://schemas.microsoft.com/office/drawing/2014/main" id="{FB1F31F2-AF4E-43AD-A3D8-13E858717439}"/>
                </a:ext>
              </a:extLst>
            </p:cNvPr>
            <p:cNvGrpSpPr/>
            <p:nvPr/>
          </p:nvGrpSpPr>
          <p:grpSpPr>
            <a:xfrm>
              <a:off x="4445019" y="2521528"/>
              <a:ext cx="1920847" cy="1914930"/>
              <a:chOff x="131763" y="111125"/>
              <a:chExt cx="3802063" cy="3789363"/>
            </a:xfrm>
          </p:grpSpPr>
          <p:sp>
            <p:nvSpPr>
              <p:cNvPr id="154" name="Freeform 5">
                <a:extLst>
                  <a:ext uri="{FF2B5EF4-FFF2-40B4-BE49-F238E27FC236}">
                    <a16:creationId xmlns:a16="http://schemas.microsoft.com/office/drawing/2014/main" id="{0048BC8A-3B7C-4387-B12F-14B79D490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838" y="1930400"/>
                <a:ext cx="447675" cy="460375"/>
              </a:xfrm>
              <a:custGeom>
                <a:avLst/>
                <a:gdLst>
                  <a:gd name="T0" fmla="*/ 11 w 65"/>
                  <a:gd name="T1" fmla="*/ 0 h 67"/>
                  <a:gd name="T2" fmla="*/ 2 w 65"/>
                  <a:gd name="T3" fmla="*/ 8 h 67"/>
                  <a:gd name="T4" fmla="*/ 2 w 65"/>
                  <a:gd name="T5" fmla="*/ 18 h 67"/>
                  <a:gd name="T6" fmla="*/ 52 w 65"/>
                  <a:gd name="T7" fmla="*/ 67 h 67"/>
                  <a:gd name="T8" fmla="*/ 65 w 65"/>
                  <a:gd name="T9" fmla="*/ 54 h 67"/>
                  <a:gd name="T10" fmla="*/ 11 w 65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5" h="67">
                    <a:moveTo>
                      <a:pt x="11" y="0"/>
                    </a:moveTo>
                    <a:cubicBezTo>
                      <a:pt x="2" y="8"/>
                      <a:pt x="2" y="8"/>
                      <a:pt x="2" y="8"/>
                    </a:cubicBezTo>
                    <a:cubicBezTo>
                      <a:pt x="0" y="11"/>
                      <a:pt x="0" y="15"/>
                      <a:pt x="2" y="18"/>
                    </a:cubicBezTo>
                    <a:cubicBezTo>
                      <a:pt x="52" y="67"/>
                      <a:pt x="52" y="67"/>
                      <a:pt x="52" y="67"/>
                    </a:cubicBezTo>
                    <a:cubicBezTo>
                      <a:pt x="65" y="54"/>
                      <a:pt x="65" y="54"/>
                      <a:pt x="65" y="54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7352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55" name="Freeform 6">
                <a:extLst>
                  <a:ext uri="{FF2B5EF4-FFF2-40B4-BE49-F238E27FC236}">
                    <a16:creationId xmlns:a16="http://schemas.microsoft.com/office/drawing/2014/main" id="{BD87CC85-502C-4550-A650-2B6D512CCD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138" y="2301875"/>
                <a:ext cx="1597025" cy="1598613"/>
              </a:xfrm>
              <a:custGeom>
                <a:avLst/>
                <a:gdLst>
                  <a:gd name="T0" fmla="*/ 17 w 232"/>
                  <a:gd name="T1" fmla="*/ 13 h 232"/>
                  <a:gd name="T2" fmla="*/ 2 w 232"/>
                  <a:gd name="T3" fmla="*/ 28 h 232"/>
                  <a:gd name="T4" fmla="*/ 2 w 232"/>
                  <a:gd name="T5" fmla="*/ 37 h 232"/>
                  <a:gd name="T6" fmla="*/ 194 w 232"/>
                  <a:gd name="T7" fmla="*/ 229 h 232"/>
                  <a:gd name="T8" fmla="*/ 204 w 232"/>
                  <a:gd name="T9" fmla="*/ 229 h 232"/>
                  <a:gd name="T10" fmla="*/ 232 w 232"/>
                  <a:gd name="T11" fmla="*/ 201 h 232"/>
                  <a:gd name="T12" fmla="*/ 38 w 232"/>
                  <a:gd name="T13" fmla="*/ 8 h 232"/>
                  <a:gd name="T14" fmla="*/ 30 w 232"/>
                  <a:gd name="T15" fmla="*/ 0 h 232"/>
                  <a:gd name="T16" fmla="*/ 17 w 232"/>
                  <a:gd name="T17" fmla="*/ 1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2" h="232">
                    <a:moveTo>
                      <a:pt x="17" y="13"/>
                    </a:moveTo>
                    <a:cubicBezTo>
                      <a:pt x="2" y="28"/>
                      <a:pt x="2" y="28"/>
                      <a:pt x="2" y="28"/>
                    </a:cubicBezTo>
                    <a:cubicBezTo>
                      <a:pt x="0" y="31"/>
                      <a:pt x="0" y="35"/>
                      <a:pt x="2" y="37"/>
                    </a:cubicBezTo>
                    <a:cubicBezTo>
                      <a:pt x="194" y="229"/>
                      <a:pt x="194" y="229"/>
                      <a:pt x="194" y="229"/>
                    </a:cubicBezTo>
                    <a:cubicBezTo>
                      <a:pt x="197" y="232"/>
                      <a:pt x="201" y="232"/>
                      <a:pt x="204" y="229"/>
                    </a:cubicBezTo>
                    <a:cubicBezTo>
                      <a:pt x="232" y="201"/>
                      <a:pt x="232" y="201"/>
                      <a:pt x="232" y="201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30" y="0"/>
                      <a:pt x="30" y="0"/>
                      <a:pt x="30" y="0"/>
                    </a:cubicBezTo>
                    <a:lnTo>
                      <a:pt x="17" y="13"/>
                    </a:lnTo>
                    <a:close/>
                  </a:path>
                </a:pathLst>
              </a:custGeom>
              <a:solidFill>
                <a:srgbClr val="0005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56" name="Freeform 7">
                <a:extLst>
                  <a:ext uri="{FF2B5EF4-FFF2-40B4-BE49-F238E27FC236}">
                    <a16:creationId xmlns:a16="http://schemas.microsoft.com/office/drawing/2014/main" id="{B26A0F5E-EBB5-4B5F-8046-0A1D547BF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1038" y="1839913"/>
                <a:ext cx="474663" cy="461963"/>
              </a:xfrm>
              <a:custGeom>
                <a:avLst/>
                <a:gdLst>
                  <a:gd name="T0" fmla="*/ 69 w 69"/>
                  <a:gd name="T1" fmla="*/ 52 h 67"/>
                  <a:gd name="T2" fmla="*/ 20 w 69"/>
                  <a:gd name="T3" fmla="*/ 2 h 67"/>
                  <a:gd name="T4" fmla="*/ 10 w 69"/>
                  <a:gd name="T5" fmla="*/ 2 h 67"/>
                  <a:gd name="T6" fmla="*/ 0 w 69"/>
                  <a:gd name="T7" fmla="*/ 13 h 67"/>
                  <a:gd name="T8" fmla="*/ 54 w 69"/>
                  <a:gd name="T9" fmla="*/ 67 h 67"/>
                  <a:gd name="T10" fmla="*/ 69 w 69"/>
                  <a:gd name="T11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9" h="67">
                    <a:moveTo>
                      <a:pt x="69" y="52"/>
                    </a:moveTo>
                    <a:cubicBezTo>
                      <a:pt x="20" y="2"/>
                      <a:pt x="20" y="2"/>
                      <a:pt x="20" y="2"/>
                    </a:cubicBezTo>
                    <a:cubicBezTo>
                      <a:pt x="17" y="0"/>
                      <a:pt x="13" y="0"/>
                      <a:pt x="10" y="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54" y="67"/>
                      <a:pt x="54" y="67"/>
                      <a:pt x="54" y="67"/>
                    </a:cubicBezTo>
                    <a:lnTo>
                      <a:pt x="69" y="52"/>
                    </a:lnTo>
                    <a:close/>
                  </a:path>
                </a:pathLst>
              </a:custGeom>
              <a:solidFill>
                <a:srgbClr val="FF9973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57" name="Freeform 8">
                <a:extLst>
                  <a:ext uri="{FF2B5EF4-FFF2-40B4-BE49-F238E27FC236}">
                    <a16:creationId xmlns:a16="http://schemas.microsoft.com/office/drawing/2014/main" id="{B7E270CD-D2DB-4E87-B8E1-D1EAE6CF1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2513" y="2074863"/>
                <a:ext cx="1611313" cy="1611313"/>
              </a:xfrm>
              <a:custGeom>
                <a:avLst/>
                <a:gdLst>
                  <a:gd name="T0" fmla="*/ 30 w 234"/>
                  <a:gd name="T1" fmla="*/ 3 h 234"/>
                  <a:gd name="T2" fmla="*/ 15 w 234"/>
                  <a:gd name="T3" fmla="*/ 18 h 234"/>
                  <a:gd name="T4" fmla="*/ 0 w 234"/>
                  <a:gd name="T5" fmla="*/ 33 h 234"/>
                  <a:gd name="T6" fmla="*/ 8 w 234"/>
                  <a:gd name="T7" fmla="*/ 41 h 234"/>
                  <a:gd name="T8" fmla="*/ 202 w 234"/>
                  <a:gd name="T9" fmla="*/ 234 h 234"/>
                  <a:gd name="T10" fmla="*/ 232 w 234"/>
                  <a:gd name="T11" fmla="*/ 204 h 234"/>
                  <a:gd name="T12" fmla="*/ 232 w 234"/>
                  <a:gd name="T13" fmla="*/ 195 h 234"/>
                  <a:gd name="T14" fmla="*/ 40 w 234"/>
                  <a:gd name="T15" fmla="*/ 3 h 234"/>
                  <a:gd name="T16" fmla="*/ 30 w 234"/>
                  <a:gd name="T17" fmla="*/ 3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4" h="234">
                    <a:moveTo>
                      <a:pt x="30" y="3"/>
                    </a:moveTo>
                    <a:cubicBezTo>
                      <a:pt x="15" y="18"/>
                      <a:pt x="15" y="18"/>
                      <a:pt x="15" y="18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202" y="234"/>
                      <a:pt x="202" y="234"/>
                      <a:pt x="202" y="234"/>
                    </a:cubicBezTo>
                    <a:cubicBezTo>
                      <a:pt x="232" y="204"/>
                      <a:pt x="232" y="204"/>
                      <a:pt x="232" y="204"/>
                    </a:cubicBezTo>
                    <a:cubicBezTo>
                      <a:pt x="234" y="202"/>
                      <a:pt x="234" y="197"/>
                      <a:pt x="232" y="195"/>
                    </a:cubicBezTo>
                    <a:cubicBezTo>
                      <a:pt x="40" y="3"/>
                      <a:pt x="40" y="3"/>
                      <a:pt x="40" y="3"/>
                    </a:cubicBezTo>
                    <a:cubicBezTo>
                      <a:pt x="37" y="0"/>
                      <a:pt x="33" y="0"/>
                      <a:pt x="30" y="3"/>
                    </a:cubicBezTo>
                    <a:close/>
                  </a:path>
                </a:pathLst>
              </a:custGeom>
              <a:solidFill>
                <a:srgbClr val="333754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58" name="Freeform 9">
                <a:extLst>
                  <a:ext uri="{FF2B5EF4-FFF2-40B4-BE49-F238E27FC236}">
                    <a16:creationId xmlns:a16="http://schemas.microsoft.com/office/drawing/2014/main" id="{7A2BF6ED-1060-457D-A43B-C12C664EE3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763" y="111125"/>
                <a:ext cx="2355850" cy="2355850"/>
              </a:xfrm>
              <a:custGeom>
                <a:avLst/>
                <a:gdLst>
                  <a:gd name="T0" fmla="*/ 281 w 342"/>
                  <a:gd name="T1" fmla="*/ 61 h 342"/>
                  <a:gd name="T2" fmla="*/ 281 w 342"/>
                  <a:gd name="T3" fmla="*/ 282 h 342"/>
                  <a:gd name="T4" fmla="*/ 61 w 342"/>
                  <a:gd name="T5" fmla="*/ 282 h 342"/>
                  <a:gd name="T6" fmla="*/ 61 w 342"/>
                  <a:gd name="T7" fmla="*/ 61 h 342"/>
                  <a:gd name="T8" fmla="*/ 281 w 342"/>
                  <a:gd name="T9" fmla="*/ 61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2" h="342">
                    <a:moveTo>
                      <a:pt x="281" y="61"/>
                    </a:moveTo>
                    <a:cubicBezTo>
                      <a:pt x="342" y="122"/>
                      <a:pt x="342" y="221"/>
                      <a:pt x="281" y="282"/>
                    </a:cubicBezTo>
                    <a:cubicBezTo>
                      <a:pt x="220" y="342"/>
                      <a:pt x="122" y="342"/>
                      <a:pt x="61" y="282"/>
                    </a:cubicBezTo>
                    <a:cubicBezTo>
                      <a:pt x="0" y="221"/>
                      <a:pt x="0" y="122"/>
                      <a:pt x="61" y="61"/>
                    </a:cubicBezTo>
                    <a:cubicBezTo>
                      <a:pt x="122" y="0"/>
                      <a:pt x="220" y="0"/>
                      <a:pt x="281" y="61"/>
                    </a:cubicBezTo>
                    <a:close/>
                  </a:path>
                </a:pathLst>
              </a:custGeom>
              <a:solidFill>
                <a:srgbClr val="00052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59" name="Freeform 10">
                <a:extLst>
                  <a:ext uri="{FF2B5EF4-FFF2-40B4-BE49-F238E27FC236}">
                    <a16:creationId xmlns:a16="http://schemas.microsoft.com/office/drawing/2014/main" id="{37EBC9AF-7E92-4102-93BC-72E559E77D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3700" y="379413"/>
                <a:ext cx="1831975" cy="1825625"/>
              </a:xfrm>
              <a:custGeom>
                <a:avLst/>
                <a:gdLst>
                  <a:gd name="T0" fmla="*/ 218 w 266"/>
                  <a:gd name="T1" fmla="*/ 47 h 265"/>
                  <a:gd name="T2" fmla="*/ 218 w 266"/>
                  <a:gd name="T3" fmla="*/ 218 h 265"/>
                  <a:gd name="T4" fmla="*/ 48 w 266"/>
                  <a:gd name="T5" fmla="*/ 218 h 265"/>
                  <a:gd name="T6" fmla="*/ 48 w 266"/>
                  <a:gd name="T7" fmla="*/ 47 h 265"/>
                  <a:gd name="T8" fmla="*/ 218 w 266"/>
                  <a:gd name="T9" fmla="*/ 47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6" h="265">
                    <a:moveTo>
                      <a:pt x="218" y="47"/>
                    </a:moveTo>
                    <a:cubicBezTo>
                      <a:pt x="266" y="94"/>
                      <a:pt x="266" y="171"/>
                      <a:pt x="218" y="218"/>
                    </a:cubicBezTo>
                    <a:cubicBezTo>
                      <a:pt x="171" y="265"/>
                      <a:pt x="95" y="265"/>
                      <a:pt x="48" y="218"/>
                    </a:cubicBezTo>
                    <a:cubicBezTo>
                      <a:pt x="0" y="171"/>
                      <a:pt x="0" y="94"/>
                      <a:pt x="48" y="47"/>
                    </a:cubicBezTo>
                    <a:cubicBezTo>
                      <a:pt x="95" y="0"/>
                      <a:pt x="171" y="0"/>
                      <a:pt x="218" y="47"/>
                    </a:cubicBezTo>
                    <a:close/>
                  </a:path>
                </a:pathLst>
              </a:custGeom>
              <a:solidFill>
                <a:srgbClr val="8FD4B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0" name="Freeform 11">
                <a:extLst>
                  <a:ext uri="{FF2B5EF4-FFF2-40B4-BE49-F238E27FC236}">
                    <a16:creationId xmlns:a16="http://schemas.microsoft.com/office/drawing/2014/main" id="{4C06ECFB-797D-4E4A-9135-86F0B3B50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00" y="758825"/>
                <a:ext cx="371475" cy="1033463"/>
              </a:xfrm>
              <a:custGeom>
                <a:avLst/>
                <a:gdLst>
                  <a:gd name="T0" fmla="*/ 51 w 54"/>
                  <a:gd name="T1" fmla="*/ 147 h 150"/>
                  <a:gd name="T2" fmla="*/ 40 w 54"/>
                  <a:gd name="T3" fmla="*/ 147 h 150"/>
                  <a:gd name="T4" fmla="*/ 40 w 54"/>
                  <a:gd name="T5" fmla="*/ 3 h 150"/>
                  <a:gd name="T6" fmla="*/ 51 w 54"/>
                  <a:gd name="T7" fmla="*/ 3 h 150"/>
                  <a:gd name="T8" fmla="*/ 51 w 54"/>
                  <a:gd name="T9" fmla="*/ 14 h 150"/>
                  <a:gd name="T10" fmla="*/ 51 w 54"/>
                  <a:gd name="T11" fmla="*/ 136 h 150"/>
                  <a:gd name="T12" fmla="*/ 51 w 54"/>
                  <a:gd name="T13" fmla="*/ 147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150">
                    <a:moveTo>
                      <a:pt x="51" y="147"/>
                    </a:moveTo>
                    <a:cubicBezTo>
                      <a:pt x="48" y="150"/>
                      <a:pt x="43" y="150"/>
                      <a:pt x="40" y="147"/>
                    </a:cubicBezTo>
                    <a:cubicBezTo>
                      <a:pt x="0" y="107"/>
                      <a:pt x="0" y="43"/>
                      <a:pt x="40" y="3"/>
                    </a:cubicBezTo>
                    <a:cubicBezTo>
                      <a:pt x="43" y="0"/>
                      <a:pt x="48" y="0"/>
                      <a:pt x="51" y="3"/>
                    </a:cubicBezTo>
                    <a:cubicBezTo>
                      <a:pt x="54" y="6"/>
                      <a:pt x="54" y="11"/>
                      <a:pt x="51" y="14"/>
                    </a:cubicBezTo>
                    <a:cubicBezTo>
                      <a:pt x="17" y="47"/>
                      <a:pt x="17" y="102"/>
                      <a:pt x="51" y="136"/>
                    </a:cubicBezTo>
                    <a:cubicBezTo>
                      <a:pt x="54" y="139"/>
                      <a:pt x="54" y="144"/>
                      <a:pt x="51" y="14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  <p:sp>
            <p:nvSpPr>
              <p:cNvPr id="161" name="Freeform 12">
                <a:extLst>
                  <a:ext uri="{FF2B5EF4-FFF2-40B4-BE49-F238E27FC236}">
                    <a16:creationId xmlns:a16="http://schemas.microsoft.com/office/drawing/2014/main" id="{ACC9EF10-9043-4CDC-8366-253BD14B06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400" y="1819275"/>
                <a:ext cx="412750" cy="165100"/>
              </a:xfrm>
              <a:custGeom>
                <a:avLst/>
                <a:gdLst>
                  <a:gd name="T0" fmla="*/ 58 w 60"/>
                  <a:gd name="T1" fmla="*/ 20 h 24"/>
                  <a:gd name="T2" fmla="*/ 53 w 60"/>
                  <a:gd name="T3" fmla="*/ 22 h 24"/>
                  <a:gd name="T4" fmla="*/ 6 w 60"/>
                  <a:gd name="T5" fmla="*/ 16 h 24"/>
                  <a:gd name="T6" fmla="*/ 2 w 60"/>
                  <a:gd name="T7" fmla="*/ 6 h 24"/>
                  <a:gd name="T8" fmla="*/ 12 w 60"/>
                  <a:gd name="T9" fmla="*/ 1 h 24"/>
                  <a:gd name="T10" fmla="*/ 51 w 60"/>
                  <a:gd name="T11" fmla="*/ 6 h 24"/>
                  <a:gd name="T12" fmla="*/ 60 w 60"/>
                  <a:gd name="T13" fmla="*/ 13 h 24"/>
                  <a:gd name="T14" fmla="*/ 58 w 60"/>
                  <a:gd name="T15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0" h="24">
                    <a:moveTo>
                      <a:pt x="58" y="20"/>
                    </a:moveTo>
                    <a:cubicBezTo>
                      <a:pt x="57" y="21"/>
                      <a:pt x="55" y="22"/>
                      <a:pt x="53" y="22"/>
                    </a:cubicBezTo>
                    <a:cubicBezTo>
                      <a:pt x="37" y="24"/>
                      <a:pt x="21" y="22"/>
                      <a:pt x="6" y="16"/>
                    </a:cubicBezTo>
                    <a:cubicBezTo>
                      <a:pt x="2" y="15"/>
                      <a:pt x="0" y="10"/>
                      <a:pt x="2" y="6"/>
                    </a:cubicBezTo>
                    <a:cubicBezTo>
                      <a:pt x="3" y="2"/>
                      <a:pt x="8" y="0"/>
                      <a:pt x="12" y="1"/>
                    </a:cubicBezTo>
                    <a:cubicBezTo>
                      <a:pt x="24" y="6"/>
                      <a:pt x="38" y="8"/>
                      <a:pt x="51" y="6"/>
                    </a:cubicBezTo>
                    <a:cubicBezTo>
                      <a:pt x="56" y="6"/>
                      <a:pt x="60" y="9"/>
                      <a:pt x="60" y="13"/>
                    </a:cubicBezTo>
                    <a:cubicBezTo>
                      <a:pt x="60" y="16"/>
                      <a:pt x="59" y="18"/>
                      <a:pt x="58" y="2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828434"/>
                <a:endParaRPr lang="en-US" sz="3600" dirty="0">
                  <a:solidFill>
                    <a:srgbClr val="445469"/>
                  </a:solidFill>
                  <a:latin typeface="Lato Light"/>
                </a:endParaRPr>
              </a:p>
            </p:txBody>
          </p:sp>
        </p:grpSp>
        <p:grpSp>
          <p:nvGrpSpPr>
            <p:cNvPr id="121" name="Group 126">
              <a:extLst>
                <a:ext uri="{FF2B5EF4-FFF2-40B4-BE49-F238E27FC236}">
                  <a16:creationId xmlns:a16="http://schemas.microsoft.com/office/drawing/2014/main" id="{55062DB8-6AC6-40D4-9841-55337E4A97A8}"/>
                </a:ext>
              </a:extLst>
            </p:cNvPr>
            <p:cNvGrpSpPr/>
            <p:nvPr/>
          </p:nvGrpSpPr>
          <p:grpSpPr>
            <a:xfrm>
              <a:off x="2524195" y="3241842"/>
              <a:ext cx="8742644" cy="8750402"/>
              <a:chOff x="2865557" y="4639756"/>
              <a:chExt cx="3987931" cy="3991470"/>
            </a:xfrm>
          </p:grpSpPr>
          <p:grpSp>
            <p:nvGrpSpPr>
              <p:cNvPr id="122" name="Group 127">
                <a:extLst>
                  <a:ext uri="{FF2B5EF4-FFF2-40B4-BE49-F238E27FC236}">
                    <a16:creationId xmlns:a16="http://schemas.microsoft.com/office/drawing/2014/main" id="{32A7EF02-DACB-4C24-A265-9ECB0EE8E6DF}"/>
                  </a:ext>
                </a:extLst>
              </p:cNvPr>
              <p:cNvGrpSpPr/>
              <p:nvPr/>
            </p:nvGrpSpPr>
            <p:grpSpPr>
              <a:xfrm>
                <a:off x="4008752" y="4901590"/>
                <a:ext cx="2844736" cy="3729636"/>
                <a:chOff x="12795250" y="366713"/>
                <a:chExt cx="2738438" cy="3589337"/>
              </a:xfrm>
            </p:grpSpPr>
            <p:sp>
              <p:nvSpPr>
                <p:cNvPr id="133" name="Freeform 129">
                  <a:extLst>
                    <a:ext uri="{FF2B5EF4-FFF2-40B4-BE49-F238E27FC236}">
                      <a16:creationId xmlns:a16="http://schemas.microsoft.com/office/drawing/2014/main" id="{CF495170-7EB1-4214-8114-B4DB16603F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95250" y="561975"/>
                  <a:ext cx="2687638" cy="3394075"/>
                </a:xfrm>
                <a:custGeom>
                  <a:avLst/>
                  <a:gdLst>
                    <a:gd name="T0" fmla="*/ 9 w 424"/>
                    <a:gd name="T1" fmla="*/ 0 h 536"/>
                    <a:gd name="T2" fmla="*/ 0 w 424"/>
                    <a:gd name="T3" fmla="*/ 25 h 536"/>
                    <a:gd name="T4" fmla="*/ 0 w 424"/>
                    <a:gd name="T5" fmla="*/ 497 h 536"/>
                    <a:gd name="T6" fmla="*/ 39 w 424"/>
                    <a:gd name="T7" fmla="*/ 536 h 536"/>
                    <a:gd name="T8" fmla="*/ 391 w 424"/>
                    <a:gd name="T9" fmla="*/ 536 h 536"/>
                    <a:gd name="T10" fmla="*/ 424 w 424"/>
                    <a:gd name="T11" fmla="*/ 519 h 536"/>
                    <a:gd name="T12" fmla="*/ 393 w 424"/>
                    <a:gd name="T13" fmla="*/ 534 h 536"/>
                    <a:gd name="T14" fmla="*/ 42 w 424"/>
                    <a:gd name="T15" fmla="*/ 534 h 536"/>
                    <a:gd name="T16" fmla="*/ 2 w 424"/>
                    <a:gd name="T17" fmla="*/ 494 h 536"/>
                    <a:gd name="T18" fmla="*/ 2 w 424"/>
                    <a:gd name="T19" fmla="*/ 22 h 536"/>
                    <a:gd name="T20" fmla="*/ 9 w 424"/>
                    <a:gd name="T21" fmla="*/ 0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24" h="536">
                      <a:moveTo>
                        <a:pt x="9" y="0"/>
                      </a:moveTo>
                      <a:cubicBezTo>
                        <a:pt x="3" y="6"/>
                        <a:pt x="0" y="15"/>
                        <a:pt x="0" y="25"/>
                      </a:cubicBezTo>
                      <a:cubicBezTo>
                        <a:pt x="0" y="497"/>
                        <a:pt x="0" y="497"/>
                        <a:pt x="0" y="497"/>
                      </a:cubicBezTo>
                      <a:cubicBezTo>
                        <a:pt x="0" y="519"/>
                        <a:pt x="18" y="536"/>
                        <a:pt x="39" y="536"/>
                      </a:cubicBezTo>
                      <a:cubicBezTo>
                        <a:pt x="391" y="536"/>
                        <a:pt x="391" y="536"/>
                        <a:pt x="391" y="536"/>
                      </a:cubicBezTo>
                      <a:cubicBezTo>
                        <a:pt x="405" y="536"/>
                        <a:pt x="416" y="530"/>
                        <a:pt x="424" y="519"/>
                      </a:cubicBezTo>
                      <a:cubicBezTo>
                        <a:pt x="416" y="528"/>
                        <a:pt x="405" y="534"/>
                        <a:pt x="393" y="534"/>
                      </a:cubicBezTo>
                      <a:cubicBezTo>
                        <a:pt x="42" y="534"/>
                        <a:pt x="42" y="534"/>
                        <a:pt x="42" y="534"/>
                      </a:cubicBezTo>
                      <a:cubicBezTo>
                        <a:pt x="20" y="534"/>
                        <a:pt x="2" y="516"/>
                        <a:pt x="2" y="494"/>
                      </a:cubicBezTo>
                      <a:cubicBezTo>
                        <a:pt x="2" y="22"/>
                        <a:pt x="2" y="22"/>
                        <a:pt x="2" y="22"/>
                      </a:cubicBezTo>
                      <a:cubicBezTo>
                        <a:pt x="2" y="14"/>
                        <a:pt x="5" y="6"/>
                        <a:pt x="9" y="0"/>
                      </a:cubicBezTo>
                    </a:path>
                  </a:pathLst>
                </a:custGeom>
                <a:solidFill>
                  <a:srgbClr val="939598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4" name="Freeform 130">
                  <a:extLst>
                    <a:ext uri="{FF2B5EF4-FFF2-40B4-BE49-F238E27FC236}">
                      <a16:creationId xmlns:a16="http://schemas.microsoft.com/office/drawing/2014/main" id="{0F2DB55B-C66A-43CF-AAF7-025210EAA9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07950" y="455613"/>
                  <a:ext cx="2725738" cy="3487737"/>
                </a:xfrm>
                <a:custGeom>
                  <a:avLst/>
                  <a:gdLst>
                    <a:gd name="T0" fmla="*/ 430 w 430"/>
                    <a:gd name="T1" fmla="*/ 511 h 551"/>
                    <a:gd name="T2" fmla="*/ 391 w 430"/>
                    <a:gd name="T3" fmla="*/ 551 h 551"/>
                    <a:gd name="T4" fmla="*/ 40 w 430"/>
                    <a:gd name="T5" fmla="*/ 551 h 551"/>
                    <a:gd name="T6" fmla="*/ 0 w 430"/>
                    <a:gd name="T7" fmla="*/ 511 h 551"/>
                    <a:gd name="T8" fmla="*/ 0 w 430"/>
                    <a:gd name="T9" fmla="*/ 39 h 551"/>
                    <a:gd name="T10" fmla="*/ 40 w 430"/>
                    <a:gd name="T11" fmla="*/ 0 h 551"/>
                    <a:gd name="T12" fmla="*/ 391 w 430"/>
                    <a:gd name="T13" fmla="*/ 0 h 551"/>
                    <a:gd name="T14" fmla="*/ 430 w 430"/>
                    <a:gd name="T15" fmla="*/ 39 h 551"/>
                    <a:gd name="T16" fmla="*/ 430 w 430"/>
                    <a:gd name="T17" fmla="*/ 511 h 5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30" h="551">
                      <a:moveTo>
                        <a:pt x="430" y="511"/>
                      </a:moveTo>
                      <a:cubicBezTo>
                        <a:pt x="430" y="533"/>
                        <a:pt x="413" y="551"/>
                        <a:pt x="391" y="551"/>
                      </a:cubicBezTo>
                      <a:cubicBezTo>
                        <a:pt x="40" y="551"/>
                        <a:pt x="40" y="551"/>
                        <a:pt x="40" y="551"/>
                      </a:cubicBezTo>
                      <a:cubicBezTo>
                        <a:pt x="18" y="551"/>
                        <a:pt x="0" y="533"/>
                        <a:pt x="0" y="511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0" y="17"/>
                        <a:pt x="18" y="0"/>
                        <a:pt x="40" y="0"/>
                      </a:cubicBezTo>
                      <a:cubicBezTo>
                        <a:pt x="391" y="0"/>
                        <a:pt x="391" y="0"/>
                        <a:pt x="391" y="0"/>
                      </a:cubicBezTo>
                      <a:cubicBezTo>
                        <a:pt x="413" y="0"/>
                        <a:pt x="430" y="17"/>
                        <a:pt x="430" y="39"/>
                      </a:cubicBezTo>
                      <a:cubicBezTo>
                        <a:pt x="430" y="511"/>
                        <a:pt x="430" y="511"/>
                        <a:pt x="430" y="511"/>
                      </a:cubicBezTo>
                    </a:path>
                  </a:pathLst>
                </a:custGeom>
                <a:solidFill>
                  <a:srgbClr val="41404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5" name="Freeform 131">
                  <a:extLst>
                    <a:ext uri="{FF2B5EF4-FFF2-40B4-BE49-F238E27FC236}">
                      <a16:creationId xmlns:a16="http://schemas.microsoft.com/office/drawing/2014/main" id="{7F6566D3-2CEC-484C-8C2D-76F8496F36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34950" y="657225"/>
                  <a:ext cx="2459038" cy="3133725"/>
                </a:xfrm>
                <a:custGeom>
                  <a:avLst/>
                  <a:gdLst>
                    <a:gd name="T0" fmla="*/ 1549 w 1549"/>
                    <a:gd name="T1" fmla="*/ 0 h 1974"/>
                    <a:gd name="T2" fmla="*/ 1541 w 1549"/>
                    <a:gd name="T3" fmla="*/ 0 h 1974"/>
                    <a:gd name="T4" fmla="*/ 1541 w 1549"/>
                    <a:gd name="T5" fmla="*/ 1962 h 1974"/>
                    <a:gd name="T6" fmla="*/ 355 w 1549"/>
                    <a:gd name="T7" fmla="*/ 1962 h 1974"/>
                    <a:gd name="T8" fmla="*/ 0 w 1549"/>
                    <a:gd name="T9" fmla="*/ 1619 h 1974"/>
                    <a:gd name="T10" fmla="*/ 0 w 1549"/>
                    <a:gd name="T11" fmla="*/ 1619 h 1974"/>
                    <a:gd name="T12" fmla="*/ 363 w 1549"/>
                    <a:gd name="T13" fmla="*/ 1974 h 1974"/>
                    <a:gd name="T14" fmla="*/ 1549 w 1549"/>
                    <a:gd name="T15" fmla="*/ 1974 h 1974"/>
                    <a:gd name="T16" fmla="*/ 1549 w 1549"/>
                    <a:gd name="T17" fmla="*/ 0 h 1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49" h="1974">
                      <a:moveTo>
                        <a:pt x="1549" y="0"/>
                      </a:moveTo>
                      <a:lnTo>
                        <a:pt x="1541" y="0"/>
                      </a:lnTo>
                      <a:lnTo>
                        <a:pt x="1541" y="1962"/>
                      </a:lnTo>
                      <a:lnTo>
                        <a:pt x="355" y="1962"/>
                      </a:lnTo>
                      <a:lnTo>
                        <a:pt x="0" y="1619"/>
                      </a:lnTo>
                      <a:lnTo>
                        <a:pt x="0" y="1619"/>
                      </a:lnTo>
                      <a:lnTo>
                        <a:pt x="363" y="1974"/>
                      </a:lnTo>
                      <a:lnTo>
                        <a:pt x="1549" y="1974"/>
                      </a:lnTo>
                      <a:lnTo>
                        <a:pt x="1549" y="0"/>
                      </a:lnTo>
                      <a:close/>
                    </a:path>
                  </a:pathLst>
                </a:custGeom>
                <a:solidFill>
                  <a:srgbClr val="1C1C1D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6" name="Freeform 132">
                  <a:extLst>
                    <a:ext uri="{FF2B5EF4-FFF2-40B4-BE49-F238E27FC236}">
                      <a16:creationId xmlns:a16="http://schemas.microsoft.com/office/drawing/2014/main" id="{11DFCF71-8792-41AC-B4CC-754F1FE33B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34950" y="657225"/>
                  <a:ext cx="2459038" cy="3133725"/>
                </a:xfrm>
                <a:custGeom>
                  <a:avLst/>
                  <a:gdLst>
                    <a:gd name="T0" fmla="*/ 1549 w 1549"/>
                    <a:gd name="T1" fmla="*/ 0 h 1974"/>
                    <a:gd name="T2" fmla="*/ 1541 w 1549"/>
                    <a:gd name="T3" fmla="*/ 0 h 1974"/>
                    <a:gd name="T4" fmla="*/ 1541 w 1549"/>
                    <a:gd name="T5" fmla="*/ 1962 h 1974"/>
                    <a:gd name="T6" fmla="*/ 355 w 1549"/>
                    <a:gd name="T7" fmla="*/ 1962 h 1974"/>
                    <a:gd name="T8" fmla="*/ 0 w 1549"/>
                    <a:gd name="T9" fmla="*/ 1619 h 1974"/>
                    <a:gd name="T10" fmla="*/ 0 w 1549"/>
                    <a:gd name="T11" fmla="*/ 1619 h 1974"/>
                    <a:gd name="T12" fmla="*/ 363 w 1549"/>
                    <a:gd name="T13" fmla="*/ 1974 h 1974"/>
                    <a:gd name="T14" fmla="*/ 1549 w 1549"/>
                    <a:gd name="T15" fmla="*/ 1974 h 1974"/>
                    <a:gd name="T16" fmla="*/ 1549 w 1549"/>
                    <a:gd name="T17" fmla="*/ 0 h 19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49" h="1974">
                      <a:moveTo>
                        <a:pt x="1549" y="0"/>
                      </a:moveTo>
                      <a:lnTo>
                        <a:pt x="1541" y="0"/>
                      </a:lnTo>
                      <a:lnTo>
                        <a:pt x="1541" y="1962"/>
                      </a:lnTo>
                      <a:lnTo>
                        <a:pt x="355" y="1962"/>
                      </a:lnTo>
                      <a:lnTo>
                        <a:pt x="0" y="1619"/>
                      </a:lnTo>
                      <a:lnTo>
                        <a:pt x="0" y="1619"/>
                      </a:lnTo>
                      <a:lnTo>
                        <a:pt x="363" y="1974"/>
                      </a:lnTo>
                      <a:lnTo>
                        <a:pt x="1549" y="1974"/>
                      </a:lnTo>
                      <a:lnTo>
                        <a:pt x="1549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7" name="Freeform 133">
                  <a:extLst>
                    <a:ext uri="{FF2B5EF4-FFF2-40B4-BE49-F238E27FC236}">
                      <a16:creationId xmlns:a16="http://schemas.microsoft.com/office/drawing/2014/main" id="{E6C44013-0DCA-4F07-B2AD-AA6E3FED9F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5900" y="644525"/>
                  <a:ext cx="2465388" cy="3127375"/>
                </a:xfrm>
                <a:custGeom>
                  <a:avLst/>
                  <a:gdLst>
                    <a:gd name="T0" fmla="*/ 367 w 1553"/>
                    <a:gd name="T1" fmla="*/ 1970 h 1970"/>
                    <a:gd name="T2" fmla="*/ 1553 w 1553"/>
                    <a:gd name="T3" fmla="*/ 1970 h 1970"/>
                    <a:gd name="T4" fmla="*/ 1553 w 1553"/>
                    <a:gd name="T5" fmla="*/ 0 h 1970"/>
                    <a:gd name="T6" fmla="*/ 0 w 1553"/>
                    <a:gd name="T7" fmla="*/ 0 h 1970"/>
                    <a:gd name="T8" fmla="*/ 0 w 1553"/>
                    <a:gd name="T9" fmla="*/ 1619 h 1970"/>
                    <a:gd name="T10" fmla="*/ 367 w 1553"/>
                    <a:gd name="T11" fmla="*/ 1970 h 19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53" h="1970">
                      <a:moveTo>
                        <a:pt x="367" y="1970"/>
                      </a:moveTo>
                      <a:lnTo>
                        <a:pt x="1553" y="1970"/>
                      </a:lnTo>
                      <a:lnTo>
                        <a:pt x="1553" y="0"/>
                      </a:lnTo>
                      <a:lnTo>
                        <a:pt x="0" y="0"/>
                      </a:lnTo>
                      <a:lnTo>
                        <a:pt x="0" y="1619"/>
                      </a:lnTo>
                      <a:lnTo>
                        <a:pt x="367" y="1970"/>
                      </a:lnTo>
                      <a:close/>
                    </a:path>
                  </a:pathLst>
                </a:custGeom>
                <a:solidFill>
                  <a:srgbClr val="FFFCF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8" name="Freeform 134">
                  <a:extLst>
                    <a:ext uri="{FF2B5EF4-FFF2-40B4-BE49-F238E27FC236}">
                      <a16:creationId xmlns:a16="http://schemas.microsoft.com/office/drawing/2014/main" id="{A70789ED-66A3-41DC-83EE-DFEC6D4317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5900" y="644525"/>
                  <a:ext cx="2465388" cy="3127375"/>
                </a:xfrm>
                <a:custGeom>
                  <a:avLst/>
                  <a:gdLst>
                    <a:gd name="T0" fmla="*/ 367 w 1553"/>
                    <a:gd name="T1" fmla="*/ 1970 h 1970"/>
                    <a:gd name="T2" fmla="*/ 1553 w 1553"/>
                    <a:gd name="T3" fmla="*/ 1970 h 1970"/>
                    <a:gd name="T4" fmla="*/ 1553 w 1553"/>
                    <a:gd name="T5" fmla="*/ 0 h 1970"/>
                    <a:gd name="T6" fmla="*/ 0 w 1553"/>
                    <a:gd name="T7" fmla="*/ 0 h 1970"/>
                    <a:gd name="T8" fmla="*/ 0 w 1553"/>
                    <a:gd name="T9" fmla="*/ 1619 h 1970"/>
                    <a:gd name="T10" fmla="*/ 367 w 1553"/>
                    <a:gd name="T11" fmla="*/ 1970 h 19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53" h="1970">
                      <a:moveTo>
                        <a:pt x="367" y="1970"/>
                      </a:moveTo>
                      <a:lnTo>
                        <a:pt x="1553" y="1970"/>
                      </a:lnTo>
                      <a:lnTo>
                        <a:pt x="1553" y="0"/>
                      </a:lnTo>
                      <a:lnTo>
                        <a:pt x="0" y="0"/>
                      </a:lnTo>
                      <a:lnTo>
                        <a:pt x="0" y="1619"/>
                      </a:lnTo>
                      <a:lnTo>
                        <a:pt x="367" y="197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9" name="Rectangle 135">
                  <a:extLst>
                    <a:ext uri="{FF2B5EF4-FFF2-40B4-BE49-F238E27FC236}">
                      <a16:creationId xmlns:a16="http://schemas.microsoft.com/office/drawing/2014/main" id="{15C29117-540B-4157-8FE3-E07F0E1C6C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28763" y="3360738"/>
                  <a:ext cx="868363" cy="107950"/>
                </a:xfrm>
                <a:prstGeom prst="rect">
                  <a:avLst/>
                </a:prstGeom>
                <a:solidFill>
                  <a:srgbClr val="EB5055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0" name="Rectangle 136">
                  <a:extLst>
                    <a:ext uri="{FF2B5EF4-FFF2-40B4-BE49-F238E27FC236}">
                      <a16:creationId xmlns:a16="http://schemas.microsoft.com/office/drawing/2014/main" id="{78ECFF6D-D9BA-42C3-A467-447A0F1394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1423988"/>
                  <a:ext cx="1882775" cy="5080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1" name="Rectangle 137">
                  <a:extLst>
                    <a:ext uri="{FF2B5EF4-FFF2-40B4-BE49-F238E27FC236}">
                      <a16:creationId xmlns:a16="http://schemas.microsoft.com/office/drawing/2014/main" id="{700219C4-C1ED-4B9B-A4B0-F2A7E91CA1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1619250"/>
                  <a:ext cx="1882775" cy="5715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2" name="Rectangle 138">
                  <a:extLst>
                    <a:ext uri="{FF2B5EF4-FFF2-40B4-BE49-F238E27FC236}">
                      <a16:creationId xmlns:a16="http://schemas.microsoft.com/office/drawing/2014/main" id="{416324A6-BDA8-440E-B22F-FFA8B07EBC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1822450"/>
                  <a:ext cx="1882775" cy="5080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3" name="Rectangle 139">
                  <a:extLst>
                    <a:ext uri="{FF2B5EF4-FFF2-40B4-BE49-F238E27FC236}">
                      <a16:creationId xmlns:a16="http://schemas.microsoft.com/office/drawing/2014/main" id="{20133F7F-A3F6-45D7-8EAC-0549E92CC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2019300"/>
                  <a:ext cx="1882775" cy="5715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4" name="Rectangle 140">
                  <a:extLst>
                    <a:ext uri="{FF2B5EF4-FFF2-40B4-BE49-F238E27FC236}">
                      <a16:creationId xmlns:a16="http://schemas.microsoft.com/office/drawing/2014/main" id="{F2DCE303-653A-41BF-A0D9-AD7C5D1E33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2220913"/>
                  <a:ext cx="1882775" cy="5715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5" name="Rectangle 141">
                  <a:extLst>
                    <a:ext uri="{FF2B5EF4-FFF2-40B4-BE49-F238E27FC236}">
                      <a16:creationId xmlns:a16="http://schemas.microsoft.com/office/drawing/2014/main" id="{083BB74C-0FC3-4021-96DB-115FF0227D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2424113"/>
                  <a:ext cx="1882775" cy="5080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6" name="Rectangle 142">
                  <a:extLst>
                    <a:ext uri="{FF2B5EF4-FFF2-40B4-BE49-F238E27FC236}">
                      <a16:creationId xmlns:a16="http://schemas.microsoft.com/office/drawing/2014/main" id="{E911A99B-3164-48C7-BED0-51AB3B7E69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2619375"/>
                  <a:ext cx="1882775" cy="5715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7" name="Rectangle 143">
                  <a:extLst>
                    <a:ext uri="{FF2B5EF4-FFF2-40B4-BE49-F238E27FC236}">
                      <a16:creationId xmlns:a16="http://schemas.microsoft.com/office/drawing/2014/main" id="{7BD40C98-2844-4B16-ADA2-361AD064872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2822575"/>
                  <a:ext cx="1882775" cy="5080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8" name="Rectangle 144">
                  <a:extLst>
                    <a:ext uri="{FF2B5EF4-FFF2-40B4-BE49-F238E27FC236}">
                      <a16:creationId xmlns:a16="http://schemas.microsoft.com/office/drawing/2014/main" id="{66B7474A-3AD5-48F7-BF5A-7A04A0537D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14350" y="3025775"/>
                  <a:ext cx="1882775" cy="50800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49" name="Rectangle 145">
                  <a:extLst>
                    <a:ext uri="{FF2B5EF4-FFF2-40B4-BE49-F238E27FC236}">
                      <a16:creationId xmlns:a16="http://schemas.microsoft.com/office/drawing/2014/main" id="{F3AC42C1-9927-4254-902F-AB88057C81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11213" y="1006475"/>
                  <a:ext cx="1325563" cy="106362"/>
                </a:xfrm>
                <a:prstGeom prst="rect">
                  <a:avLst/>
                </a:prstGeom>
                <a:solidFill>
                  <a:srgbClr val="A7A9AC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50" name="Freeform 146">
                  <a:extLst>
                    <a:ext uri="{FF2B5EF4-FFF2-40B4-BE49-F238E27FC236}">
                      <a16:creationId xmlns:a16="http://schemas.microsoft.com/office/drawing/2014/main" id="{FB1B3576-82E3-4D9F-BD31-D29BA3038B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5900" y="3214688"/>
                  <a:ext cx="595313" cy="557212"/>
                </a:xfrm>
                <a:custGeom>
                  <a:avLst/>
                  <a:gdLst>
                    <a:gd name="T0" fmla="*/ 375 w 375"/>
                    <a:gd name="T1" fmla="*/ 0 h 351"/>
                    <a:gd name="T2" fmla="*/ 0 w 375"/>
                    <a:gd name="T3" fmla="*/ 0 h 351"/>
                    <a:gd name="T4" fmla="*/ 367 w 375"/>
                    <a:gd name="T5" fmla="*/ 351 h 351"/>
                    <a:gd name="T6" fmla="*/ 375 w 375"/>
                    <a:gd name="T7" fmla="*/ 0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5" h="351">
                      <a:moveTo>
                        <a:pt x="375" y="0"/>
                      </a:moveTo>
                      <a:lnTo>
                        <a:pt x="0" y="0"/>
                      </a:lnTo>
                      <a:lnTo>
                        <a:pt x="367" y="351"/>
                      </a:lnTo>
                      <a:lnTo>
                        <a:pt x="375" y="0"/>
                      </a:lnTo>
                      <a:close/>
                    </a:path>
                  </a:pathLst>
                </a:custGeom>
                <a:solidFill>
                  <a:srgbClr val="BCBCB8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51" name="Freeform 147">
                  <a:extLst>
                    <a:ext uri="{FF2B5EF4-FFF2-40B4-BE49-F238E27FC236}">
                      <a16:creationId xmlns:a16="http://schemas.microsoft.com/office/drawing/2014/main" id="{5E0F4AE1-5A23-470D-A0B9-EB1192030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5900" y="3214688"/>
                  <a:ext cx="595313" cy="557212"/>
                </a:xfrm>
                <a:custGeom>
                  <a:avLst/>
                  <a:gdLst>
                    <a:gd name="T0" fmla="*/ 375 w 375"/>
                    <a:gd name="T1" fmla="*/ 0 h 351"/>
                    <a:gd name="T2" fmla="*/ 0 w 375"/>
                    <a:gd name="T3" fmla="*/ 0 h 351"/>
                    <a:gd name="T4" fmla="*/ 367 w 375"/>
                    <a:gd name="T5" fmla="*/ 351 h 351"/>
                    <a:gd name="T6" fmla="*/ 375 w 375"/>
                    <a:gd name="T7" fmla="*/ 0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5" h="351">
                      <a:moveTo>
                        <a:pt x="375" y="0"/>
                      </a:moveTo>
                      <a:lnTo>
                        <a:pt x="0" y="0"/>
                      </a:lnTo>
                      <a:lnTo>
                        <a:pt x="367" y="351"/>
                      </a:lnTo>
                      <a:lnTo>
                        <a:pt x="375" y="0"/>
                      </a:lnTo>
                    </a:path>
                  </a:pathLst>
                </a:cu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52" name="Freeform 148">
                  <a:extLst>
                    <a:ext uri="{FF2B5EF4-FFF2-40B4-BE49-F238E27FC236}">
                      <a16:creationId xmlns:a16="http://schemas.microsoft.com/office/drawing/2014/main" id="{5912B9B6-6CF6-4A28-8C1B-E4D9E74C29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5900" y="3214688"/>
                  <a:ext cx="582613" cy="557212"/>
                </a:xfrm>
                <a:custGeom>
                  <a:avLst/>
                  <a:gdLst>
                    <a:gd name="T0" fmla="*/ 351 w 367"/>
                    <a:gd name="T1" fmla="*/ 20 h 351"/>
                    <a:gd name="T2" fmla="*/ 0 w 367"/>
                    <a:gd name="T3" fmla="*/ 0 h 351"/>
                    <a:gd name="T4" fmla="*/ 367 w 367"/>
                    <a:gd name="T5" fmla="*/ 351 h 351"/>
                    <a:gd name="T6" fmla="*/ 351 w 367"/>
                    <a:gd name="T7" fmla="*/ 20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67" h="351">
                      <a:moveTo>
                        <a:pt x="351" y="20"/>
                      </a:moveTo>
                      <a:lnTo>
                        <a:pt x="0" y="0"/>
                      </a:lnTo>
                      <a:lnTo>
                        <a:pt x="367" y="351"/>
                      </a:lnTo>
                      <a:lnTo>
                        <a:pt x="351" y="20"/>
                      </a:lnTo>
                      <a:close/>
                    </a:path>
                  </a:pathLst>
                </a:custGeom>
                <a:solidFill>
                  <a:srgbClr val="F2EFE9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53" name="Rectangle 149">
                  <a:extLst>
                    <a:ext uri="{FF2B5EF4-FFF2-40B4-BE49-F238E27FC236}">
                      <a16:creationId xmlns:a16="http://schemas.microsoft.com/office/drawing/2014/main" id="{FD0C3F1E-7F85-495C-B5E2-CB46818D4B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2663" y="366713"/>
                  <a:ext cx="944563" cy="290512"/>
                </a:xfrm>
                <a:prstGeom prst="rect">
                  <a:avLst/>
                </a:prstGeom>
                <a:solidFill>
                  <a:srgbClr val="1E1E1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</p:grpSp>
          <p:grpSp>
            <p:nvGrpSpPr>
              <p:cNvPr id="123" name="Group 128">
                <a:extLst>
                  <a:ext uri="{FF2B5EF4-FFF2-40B4-BE49-F238E27FC236}">
                    <a16:creationId xmlns:a16="http://schemas.microsoft.com/office/drawing/2014/main" id="{33B57540-C7F5-49C7-ACF3-43D8E703AB85}"/>
                  </a:ext>
                </a:extLst>
              </p:cNvPr>
              <p:cNvGrpSpPr/>
              <p:nvPr/>
            </p:nvGrpSpPr>
            <p:grpSpPr>
              <a:xfrm>
                <a:off x="4915488" y="4639756"/>
                <a:ext cx="998195" cy="540472"/>
                <a:chOff x="17801829" y="5891398"/>
                <a:chExt cx="954592" cy="516864"/>
              </a:xfrm>
            </p:grpSpPr>
            <p:sp>
              <p:nvSpPr>
                <p:cNvPr id="131" name="Freeform 279">
                  <a:extLst>
                    <a:ext uri="{FF2B5EF4-FFF2-40B4-BE49-F238E27FC236}">
                      <a16:creationId xmlns:a16="http://schemas.microsoft.com/office/drawing/2014/main" id="{7B5A64F8-F3DD-4478-82FA-40807C059F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01829" y="5891398"/>
                  <a:ext cx="954592" cy="516864"/>
                </a:xfrm>
                <a:custGeom>
                  <a:avLst/>
                  <a:gdLst>
                    <a:gd name="T0" fmla="*/ 115 w 167"/>
                    <a:gd name="T1" fmla="*/ 42 h 88"/>
                    <a:gd name="T2" fmla="*/ 117 w 167"/>
                    <a:gd name="T3" fmla="*/ 33 h 88"/>
                    <a:gd name="T4" fmla="*/ 83 w 167"/>
                    <a:gd name="T5" fmla="*/ 0 h 88"/>
                    <a:gd name="T6" fmla="*/ 50 w 167"/>
                    <a:gd name="T7" fmla="*/ 33 h 88"/>
                    <a:gd name="T8" fmla="*/ 51 w 167"/>
                    <a:gd name="T9" fmla="*/ 42 h 88"/>
                    <a:gd name="T10" fmla="*/ 0 w 167"/>
                    <a:gd name="T11" fmla="*/ 42 h 88"/>
                    <a:gd name="T12" fmla="*/ 0 w 167"/>
                    <a:gd name="T13" fmla="*/ 88 h 88"/>
                    <a:gd name="T14" fmla="*/ 167 w 167"/>
                    <a:gd name="T15" fmla="*/ 88 h 88"/>
                    <a:gd name="T16" fmla="*/ 167 w 167"/>
                    <a:gd name="T17" fmla="*/ 42 h 88"/>
                    <a:gd name="T18" fmla="*/ 115 w 167"/>
                    <a:gd name="T19" fmla="*/ 42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67" h="88">
                      <a:moveTo>
                        <a:pt x="115" y="42"/>
                      </a:moveTo>
                      <a:cubicBezTo>
                        <a:pt x="116" y="39"/>
                        <a:pt x="117" y="36"/>
                        <a:pt x="117" y="33"/>
                      </a:cubicBezTo>
                      <a:cubicBezTo>
                        <a:pt x="117" y="15"/>
                        <a:pt x="102" y="0"/>
                        <a:pt x="83" y="0"/>
                      </a:cubicBezTo>
                      <a:cubicBezTo>
                        <a:pt x="65" y="0"/>
                        <a:pt x="50" y="15"/>
                        <a:pt x="50" y="33"/>
                      </a:cubicBezTo>
                      <a:cubicBezTo>
                        <a:pt x="50" y="36"/>
                        <a:pt x="51" y="39"/>
                        <a:pt x="51" y="42"/>
                      </a:cubicBezTo>
                      <a:cubicBezTo>
                        <a:pt x="0" y="42"/>
                        <a:pt x="0" y="42"/>
                        <a:pt x="0" y="42"/>
                      </a:cubicBezTo>
                      <a:cubicBezTo>
                        <a:pt x="0" y="88"/>
                        <a:pt x="0" y="88"/>
                        <a:pt x="0" y="88"/>
                      </a:cubicBezTo>
                      <a:cubicBezTo>
                        <a:pt x="167" y="88"/>
                        <a:pt x="167" y="88"/>
                        <a:pt x="167" y="88"/>
                      </a:cubicBezTo>
                      <a:cubicBezTo>
                        <a:pt x="167" y="42"/>
                        <a:pt x="167" y="42"/>
                        <a:pt x="167" y="42"/>
                      </a:cubicBezTo>
                      <a:lnTo>
                        <a:pt x="115" y="42"/>
                      </a:lnTo>
                      <a:close/>
                    </a:path>
                  </a:pathLst>
                </a:custGeom>
                <a:solidFill>
                  <a:srgbClr val="FFB033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2" name="Oval 280">
                  <a:extLst>
                    <a:ext uri="{FF2B5EF4-FFF2-40B4-BE49-F238E27FC236}">
                      <a16:creationId xmlns:a16="http://schemas.microsoft.com/office/drawing/2014/main" id="{2CB22DEE-0733-4728-A1ED-7625FEFCF73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167266" y="5973356"/>
                  <a:ext cx="229951" cy="230011"/>
                </a:xfrm>
                <a:prstGeom prst="ellipse">
                  <a:avLst/>
                </a:prstGeom>
                <a:solidFill>
                  <a:srgbClr val="000529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</p:grpSp>
          <p:grpSp>
            <p:nvGrpSpPr>
              <p:cNvPr id="124" name="Group 129">
                <a:extLst>
                  <a:ext uri="{FF2B5EF4-FFF2-40B4-BE49-F238E27FC236}">
                    <a16:creationId xmlns:a16="http://schemas.microsoft.com/office/drawing/2014/main" id="{F5F5F615-8388-4EDC-BD45-C8B4FE12D5CF}"/>
                  </a:ext>
                </a:extLst>
              </p:cNvPr>
              <p:cNvGrpSpPr/>
              <p:nvPr/>
            </p:nvGrpSpPr>
            <p:grpSpPr>
              <a:xfrm rot="1080935">
                <a:off x="2865557" y="5552197"/>
                <a:ext cx="2681043" cy="955676"/>
                <a:chOff x="485775" y="495300"/>
                <a:chExt cx="5238750" cy="1866901"/>
              </a:xfrm>
            </p:grpSpPr>
            <p:sp>
              <p:nvSpPr>
                <p:cNvPr id="125" name="Freeform 5">
                  <a:extLst>
                    <a:ext uri="{FF2B5EF4-FFF2-40B4-BE49-F238E27FC236}">
                      <a16:creationId xmlns:a16="http://schemas.microsoft.com/office/drawing/2014/main" id="{1D99D9D0-0D3B-429F-A2BE-918941EFF6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03750" y="1674813"/>
                  <a:ext cx="1120775" cy="687388"/>
                </a:xfrm>
                <a:custGeom>
                  <a:avLst/>
                  <a:gdLst>
                    <a:gd name="T0" fmla="*/ 6 w 117"/>
                    <a:gd name="T1" fmla="*/ 29 h 71"/>
                    <a:gd name="T2" fmla="*/ 0 w 117"/>
                    <a:gd name="T3" fmla="*/ 58 h 71"/>
                    <a:gd name="T4" fmla="*/ 63 w 117"/>
                    <a:gd name="T5" fmla="*/ 71 h 71"/>
                    <a:gd name="T6" fmla="*/ 115 w 117"/>
                    <a:gd name="T7" fmla="*/ 55 h 71"/>
                    <a:gd name="T8" fmla="*/ 115 w 117"/>
                    <a:gd name="T9" fmla="*/ 55 h 71"/>
                    <a:gd name="T10" fmla="*/ 115 w 117"/>
                    <a:gd name="T11" fmla="*/ 53 h 71"/>
                    <a:gd name="T12" fmla="*/ 68 w 117"/>
                    <a:gd name="T13" fmla="*/ 43 h 71"/>
                    <a:gd name="T14" fmla="*/ 62 w 117"/>
                    <a:gd name="T15" fmla="*/ 46 h 71"/>
                    <a:gd name="T16" fmla="*/ 57 w 117"/>
                    <a:gd name="T17" fmla="*/ 39 h 71"/>
                    <a:gd name="T18" fmla="*/ 64 w 117"/>
                    <a:gd name="T19" fmla="*/ 35 h 71"/>
                    <a:gd name="T20" fmla="*/ 68 w 117"/>
                    <a:gd name="T21" fmla="*/ 40 h 71"/>
                    <a:gd name="T22" fmla="*/ 116 w 117"/>
                    <a:gd name="T23" fmla="*/ 50 h 71"/>
                    <a:gd name="T24" fmla="*/ 117 w 117"/>
                    <a:gd name="T25" fmla="*/ 48 h 71"/>
                    <a:gd name="T26" fmla="*/ 117 w 117"/>
                    <a:gd name="T27" fmla="*/ 48 h 71"/>
                    <a:gd name="T28" fmla="*/ 75 w 117"/>
                    <a:gd name="T29" fmla="*/ 13 h 71"/>
                    <a:gd name="T30" fmla="*/ 12 w 117"/>
                    <a:gd name="T31" fmla="*/ 0 h 71"/>
                    <a:gd name="T32" fmla="*/ 6 w 117"/>
                    <a:gd name="T33" fmla="*/ 29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17" h="71">
                      <a:moveTo>
                        <a:pt x="6" y="29"/>
                      </a:move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63" y="71"/>
                        <a:pt x="63" y="71"/>
                        <a:pt x="63" y="71"/>
                      </a:cubicBezTo>
                      <a:cubicBezTo>
                        <a:pt x="76" y="58"/>
                        <a:pt x="95" y="51"/>
                        <a:pt x="115" y="55"/>
                      </a:cubicBezTo>
                      <a:cubicBezTo>
                        <a:pt x="115" y="55"/>
                        <a:pt x="115" y="55"/>
                        <a:pt x="115" y="55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68" y="43"/>
                        <a:pt x="68" y="43"/>
                        <a:pt x="68" y="43"/>
                      </a:cubicBezTo>
                      <a:cubicBezTo>
                        <a:pt x="67" y="45"/>
                        <a:pt x="64" y="47"/>
                        <a:pt x="62" y="46"/>
                      </a:cubicBezTo>
                      <a:cubicBezTo>
                        <a:pt x="59" y="45"/>
                        <a:pt x="57" y="42"/>
                        <a:pt x="57" y="39"/>
                      </a:cubicBezTo>
                      <a:cubicBezTo>
                        <a:pt x="58" y="36"/>
                        <a:pt x="61" y="34"/>
                        <a:pt x="64" y="35"/>
                      </a:cubicBezTo>
                      <a:cubicBezTo>
                        <a:pt x="67" y="36"/>
                        <a:pt x="68" y="38"/>
                        <a:pt x="68" y="40"/>
                      </a:cubicBezTo>
                      <a:cubicBezTo>
                        <a:pt x="116" y="50"/>
                        <a:pt x="116" y="50"/>
                        <a:pt x="116" y="50"/>
                      </a:cubicBezTo>
                      <a:cubicBezTo>
                        <a:pt x="117" y="48"/>
                        <a:pt x="117" y="48"/>
                        <a:pt x="117" y="48"/>
                      </a:cubicBezTo>
                      <a:cubicBezTo>
                        <a:pt x="117" y="48"/>
                        <a:pt x="117" y="48"/>
                        <a:pt x="117" y="48"/>
                      </a:cubicBezTo>
                      <a:cubicBezTo>
                        <a:pt x="97" y="44"/>
                        <a:pt x="82" y="30"/>
                        <a:pt x="75" y="13"/>
                      </a:cubicBezTo>
                      <a:cubicBezTo>
                        <a:pt x="12" y="0"/>
                        <a:pt x="12" y="0"/>
                        <a:pt x="12" y="0"/>
                      </a:cubicBezTo>
                      <a:lnTo>
                        <a:pt x="6" y="29"/>
                      </a:lnTo>
                      <a:close/>
                    </a:path>
                  </a:pathLst>
                </a:custGeom>
                <a:solidFill>
                  <a:srgbClr val="1D8C96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26" name="Freeform 6">
                  <a:extLst>
                    <a:ext uri="{FF2B5EF4-FFF2-40B4-BE49-F238E27FC236}">
                      <a16:creationId xmlns:a16="http://schemas.microsoft.com/office/drawing/2014/main" id="{DA944A71-FA44-46CC-A6B9-3D9845F5C5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400" y="989013"/>
                  <a:ext cx="3351213" cy="1335088"/>
                </a:xfrm>
                <a:custGeom>
                  <a:avLst/>
                  <a:gdLst>
                    <a:gd name="T0" fmla="*/ 2111 w 2111"/>
                    <a:gd name="T1" fmla="*/ 420 h 841"/>
                    <a:gd name="T2" fmla="*/ 2027 w 2111"/>
                    <a:gd name="T3" fmla="*/ 841 h 841"/>
                    <a:gd name="T4" fmla="*/ 0 w 2111"/>
                    <a:gd name="T5" fmla="*/ 426 h 841"/>
                    <a:gd name="T6" fmla="*/ 84 w 2111"/>
                    <a:gd name="T7" fmla="*/ 0 h 841"/>
                    <a:gd name="T8" fmla="*/ 2111 w 2111"/>
                    <a:gd name="T9" fmla="*/ 420 h 8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1" h="841">
                      <a:moveTo>
                        <a:pt x="2111" y="420"/>
                      </a:moveTo>
                      <a:lnTo>
                        <a:pt x="2027" y="841"/>
                      </a:lnTo>
                      <a:lnTo>
                        <a:pt x="0" y="426"/>
                      </a:lnTo>
                      <a:lnTo>
                        <a:pt x="84" y="0"/>
                      </a:lnTo>
                      <a:lnTo>
                        <a:pt x="2111" y="420"/>
                      </a:lnTo>
                      <a:close/>
                    </a:path>
                  </a:pathLst>
                </a:custGeom>
                <a:solidFill>
                  <a:srgbClr val="0EB3BF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27" name="Freeform 7">
                  <a:extLst>
                    <a:ext uri="{FF2B5EF4-FFF2-40B4-BE49-F238E27FC236}">
                      <a16:creationId xmlns:a16="http://schemas.microsoft.com/office/drawing/2014/main" id="{C13713BA-BC3B-4E58-B67F-0D81269E8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4463" y="958850"/>
                  <a:ext cx="3352800" cy="1344613"/>
                </a:xfrm>
                <a:custGeom>
                  <a:avLst/>
                  <a:gdLst>
                    <a:gd name="T0" fmla="*/ 2112 w 2112"/>
                    <a:gd name="T1" fmla="*/ 421 h 847"/>
                    <a:gd name="T2" fmla="*/ 2027 w 2112"/>
                    <a:gd name="T3" fmla="*/ 847 h 847"/>
                    <a:gd name="T4" fmla="*/ 0 w 2112"/>
                    <a:gd name="T5" fmla="*/ 427 h 847"/>
                    <a:gd name="T6" fmla="*/ 85 w 2112"/>
                    <a:gd name="T7" fmla="*/ 0 h 847"/>
                    <a:gd name="T8" fmla="*/ 2112 w 2112"/>
                    <a:gd name="T9" fmla="*/ 421 h 8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2" h="847">
                      <a:moveTo>
                        <a:pt x="2112" y="421"/>
                      </a:moveTo>
                      <a:lnTo>
                        <a:pt x="2027" y="847"/>
                      </a:lnTo>
                      <a:lnTo>
                        <a:pt x="0" y="427"/>
                      </a:lnTo>
                      <a:lnTo>
                        <a:pt x="85" y="0"/>
                      </a:lnTo>
                      <a:lnTo>
                        <a:pt x="2112" y="421"/>
                      </a:lnTo>
                      <a:close/>
                    </a:path>
                  </a:pathLst>
                </a:custGeom>
                <a:solidFill>
                  <a:srgbClr val="FDC0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28" name="Freeform 8">
                  <a:extLst>
                    <a:ext uri="{FF2B5EF4-FFF2-40B4-BE49-F238E27FC236}">
                      <a16:creationId xmlns:a16="http://schemas.microsoft.com/office/drawing/2014/main" id="{D3267DB8-FE1F-4CD1-87DC-AB2DFBDA1B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5775" y="736600"/>
                  <a:ext cx="536575" cy="862013"/>
                </a:xfrm>
                <a:custGeom>
                  <a:avLst/>
                  <a:gdLst>
                    <a:gd name="T0" fmla="*/ 37 w 56"/>
                    <a:gd name="T1" fmla="*/ 88 h 89"/>
                    <a:gd name="T2" fmla="*/ 39 w 56"/>
                    <a:gd name="T3" fmla="*/ 89 h 89"/>
                    <a:gd name="T4" fmla="*/ 56 w 56"/>
                    <a:gd name="T5" fmla="*/ 5 h 89"/>
                    <a:gd name="T6" fmla="*/ 54 w 56"/>
                    <a:gd name="T7" fmla="*/ 4 h 89"/>
                    <a:gd name="T8" fmla="*/ 5 w 56"/>
                    <a:gd name="T9" fmla="*/ 38 h 89"/>
                    <a:gd name="T10" fmla="*/ 37 w 56"/>
                    <a:gd name="T11" fmla="*/ 88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6" h="89">
                      <a:moveTo>
                        <a:pt x="37" y="88"/>
                      </a:moveTo>
                      <a:cubicBezTo>
                        <a:pt x="39" y="89"/>
                        <a:pt x="39" y="89"/>
                        <a:pt x="39" y="89"/>
                      </a:cubicBezTo>
                      <a:cubicBezTo>
                        <a:pt x="56" y="5"/>
                        <a:pt x="56" y="5"/>
                        <a:pt x="56" y="5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32" y="0"/>
                        <a:pt x="10" y="15"/>
                        <a:pt x="5" y="38"/>
                      </a:cubicBezTo>
                      <a:cubicBezTo>
                        <a:pt x="0" y="61"/>
                        <a:pt x="15" y="83"/>
                        <a:pt x="37" y="88"/>
                      </a:cubicBezTo>
                      <a:close/>
                    </a:path>
                  </a:pathLst>
                </a:custGeom>
                <a:solidFill>
                  <a:srgbClr val="FDC0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29" name="Freeform 9">
                  <a:extLst>
                    <a:ext uri="{FF2B5EF4-FFF2-40B4-BE49-F238E27FC236}">
                      <a16:creationId xmlns:a16="http://schemas.microsoft.com/office/drawing/2014/main" id="{4FD40E75-44D6-451E-8C57-86556F4245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8838" y="495300"/>
                  <a:ext cx="2087563" cy="1373188"/>
                </a:xfrm>
                <a:custGeom>
                  <a:avLst/>
                  <a:gdLst>
                    <a:gd name="T0" fmla="*/ 17 w 218"/>
                    <a:gd name="T1" fmla="*/ 30 h 142"/>
                    <a:gd name="T2" fmla="*/ 0 w 218"/>
                    <a:gd name="T3" fmla="*/ 114 h 142"/>
                    <a:gd name="T4" fmla="*/ 137 w 218"/>
                    <a:gd name="T5" fmla="*/ 142 h 142"/>
                    <a:gd name="T6" fmla="*/ 145 w 218"/>
                    <a:gd name="T7" fmla="*/ 136 h 142"/>
                    <a:gd name="T8" fmla="*/ 159 w 218"/>
                    <a:gd name="T9" fmla="*/ 65 h 142"/>
                    <a:gd name="T10" fmla="*/ 154 w 218"/>
                    <a:gd name="T11" fmla="*/ 58 h 142"/>
                    <a:gd name="T12" fmla="*/ 31 w 218"/>
                    <a:gd name="T13" fmla="*/ 32 h 142"/>
                    <a:gd name="T14" fmla="*/ 54 w 218"/>
                    <a:gd name="T15" fmla="*/ 18 h 142"/>
                    <a:gd name="T16" fmla="*/ 206 w 218"/>
                    <a:gd name="T17" fmla="*/ 49 h 142"/>
                    <a:gd name="T18" fmla="*/ 206 w 218"/>
                    <a:gd name="T19" fmla="*/ 49 h 142"/>
                    <a:gd name="T20" fmla="*/ 216 w 218"/>
                    <a:gd name="T21" fmla="*/ 44 h 142"/>
                    <a:gd name="T22" fmla="*/ 216 w 218"/>
                    <a:gd name="T23" fmla="*/ 44 h 142"/>
                    <a:gd name="T24" fmla="*/ 218 w 218"/>
                    <a:gd name="T25" fmla="*/ 36 h 142"/>
                    <a:gd name="T26" fmla="*/ 57 w 218"/>
                    <a:gd name="T27" fmla="*/ 3 h 142"/>
                    <a:gd name="T28" fmla="*/ 17 w 218"/>
                    <a:gd name="T29" fmla="*/ 30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8" h="142">
                      <a:moveTo>
                        <a:pt x="17" y="30"/>
                      </a:moveTo>
                      <a:cubicBezTo>
                        <a:pt x="0" y="114"/>
                        <a:pt x="0" y="114"/>
                        <a:pt x="0" y="114"/>
                      </a:cubicBezTo>
                      <a:cubicBezTo>
                        <a:pt x="137" y="142"/>
                        <a:pt x="137" y="142"/>
                        <a:pt x="137" y="142"/>
                      </a:cubicBezTo>
                      <a:cubicBezTo>
                        <a:pt x="140" y="142"/>
                        <a:pt x="144" y="140"/>
                        <a:pt x="145" y="136"/>
                      </a:cubicBezTo>
                      <a:cubicBezTo>
                        <a:pt x="159" y="65"/>
                        <a:pt x="159" y="65"/>
                        <a:pt x="159" y="65"/>
                      </a:cubicBezTo>
                      <a:cubicBezTo>
                        <a:pt x="160" y="62"/>
                        <a:pt x="158" y="58"/>
                        <a:pt x="154" y="58"/>
                      </a:cubicBezTo>
                      <a:cubicBezTo>
                        <a:pt x="31" y="32"/>
                        <a:pt x="31" y="32"/>
                        <a:pt x="31" y="32"/>
                      </a:cubicBezTo>
                      <a:cubicBezTo>
                        <a:pt x="33" y="22"/>
                        <a:pt x="44" y="15"/>
                        <a:pt x="54" y="18"/>
                      </a:cubicBezTo>
                      <a:cubicBezTo>
                        <a:pt x="206" y="49"/>
                        <a:pt x="206" y="49"/>
                        <a:pt x="206" y="49"/>
                      </a:cubicBezTo>
                      <a:cubicBezTo>
                        <a:pt x="206" y="49"/>
                        <a:pt x="206" y="49"/>
                        <a:pt x="206" y="49"/>
                      </a:cubicBezTo>
                      <a:cubicBezTo>
                        <a:pt x="210" y="49"/>
                        <a:pt x="215" y="47"/>
                        <a:pt x="216" y="44"/>
                      </a:cubicBezTo>
                      <a:cubicBezTo>
                        <a:pt x="216" y="44"/>
                        <a:pt x="216" y="44"/>
                        <a:pt x="216" y="44"/>
                      </a:cubicBezTo>
                      <a:cubicBezTo>
                        <a:pt x="218" y="36"/>
                        <a:pt x="218" y="36"/>
                        <a:pt x="218" y="36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39" y="0"/>
                        <a:pt x="21" y="11"/>
                        <a:pt x="17" y="30"/>
                      </a:cubicBezTo>
                      <a:close/>
                    </a:path>
                  </a:pathLst>
                </a:custGeom>
                <a:solidFill>
                  <a:srgbClr val="1D8C96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  <p:sp>
              <p:nvSpPr>
                <p:cNvPr id="130" name="Freeform 10">
                  <a:extLst>
                    <a:ext uri="{FF2B5EF4-FFF2-40B4-BE49-F238E27FC236}">
                      <a16:creationId xmlns:a16="http://schemas.microsoft.com/office/drawing/2014/main" id="{65DDE2D1-289A-4AE7-B62A-A37638CA8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3775" y="804863"/>
                  <a:ext cx="344488" cy="850900"/>
                </a:xfrm>
                <a:custGeom>
                  <a:avLst/>
                  <a:gdLst>
                    <a:gd name="T0" fmla="*/ 114 w 217"/>
                    <a:gd name="T1" fmla="*/ 536 h 536"/>
                    <a:gd name="T2" fmla="*/ 217 w 217"/>
                    <a:gd name="T3" fmla="*/ 24 h 536"/>
                    <a:gd name="T4" fmla="*/ 102 w 217"/>
                    <a:gd name="T5" fmla="*/ 0 h 536"/>
                    <a:gd name="T6" fmla="*/ 0 w 217"/>
                    <a:gd name="T7" fmla="*/ 512 h 536"/>
                    <a:gd name="T8" fmla="*/ 114 w 217"/>
                    <a:gd name="T9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7" h="536">
                      <a:moveTo>
                        <a:pt x="114" y="536"/>
                      </a:moveTo>
                      <a:lnTo>
                        <a:pt x="217" y="24"/>
                      </a:lnTo>
                      <a:lnTo>
                        <a:pt x="102" y="0"/>
                      </a:lnTo>
                      <a:lnTo>
                        <a:pt x="0" y="512"/>
                      </a:lnTo>
                      <a:lnTo>
                        <a:pt x="114" y="536"/>
                      </a:lnTo>
                      <a:close/>
                    </a:path>
                  </a:pathLst>
                </a:custGeom>
                <a:solidFill>
                  <a:srgbClr val="FDC000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828434"/>
                  <a:endParaRPr lang="en-US" sz="3600" dirty="0">
                    <a:solidFill>
                      <a:srgbClr val="445469"/>
                    </a:solidFill>
                    <a:latin typeface="Lato Light"/>
                  </a:endParaRPr>
                </a:p>
              </p:txBody>
            </p:sp>
          </p:grpSp>
        </p:grpSp>
      </p:grpSp>
      <p:sp>
        <p:nvSpPr>
          <p:cNvPr id="192" name="Round Same Side Corner Rectangle 119">
            <a:extLst>
              <a:ext uri="{FF2B5EF4-FFF2-40B4-BE49-F238E27FC236}">
                <a16:creationId xmlns:a16="http://schemas.microsoft.com/office/drawing/2014/main" id="{C6EC713F-77EF-4CAB-807C-CA6D37B9DDF6}"/>
              </a:ext>
            </a:extLst>
          </p:cNvPr>
          <p:cNvSpPr/>
          <p:nvPr/>
        </p:nvSpPr>
        <p:spPr>
          <a:xfrm rot="10800000">
            <a:off x="6215894" y="988102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3" name="Round Same Side Corner Rectangle 119">
            <a:extLst>
              <a:ext uri="{FF2B5EF4-FFF2-40B4-BE49-F238E27FC236}">
                <a16:creationId xmlns:a16="http://schemas.microsoft.com/office/drawing/2014/main" id="{75A29300-07C8-4B6D-A611-B413B08F0E53}"/>
              </a:ext>
            </a:extLst>
          </p:cNvPr>
          <p:cNvSpPr/>
          <p:nvPr/>
        </p:nvSpPr>
        <p:spPr>
          <a:xfrm rot="10800000">
            <a:off x="6215894" y="1461737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4" name="Round Same Side Corner Rectangle 119">
            <a:extLst>
              <a:ext uri="{FF2B5EF4-FFF2-40B4-BE49-F238E27FC236}">
                <a16:creationId xmlns:a16="http://schemas.microsoft.com/office/drawing/2014/main" id="{A3148859-3F4D-4B39-964D-24AE8DD759A3}"/>
              </a:ext>
            </a:extLst>
          </p:cNvPr>
          <p:cNvSpPr/>
          <p:nvPr/>
        </p:nvSpPr>
        <p:spPr>
          <a:xfrm rot="10800000">
            <a:off x="6216638" y="1946758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5" name="Round Same Side Corner Rectangle 119">
            <a:extLst>
              <a:ext uri="{FF2B5EF4-FFF2-40B4-BE49-F238E27FC236}">
                <a16:creationId xmlns:a16="http://schemas.microsoft.com/office/drawing/2014/main" id="{3B748D24-20B7-4B6D-854F-220D7044422B}"/>
              </a:ext>
            </a:extLst>
          </p:cNvPr>
          <p:cNvSpPr/>
          <p:nvPr/>
        </p:nvSpPr>
        <p:spPr>
          <a:xfrm rot="10800000">
            <a:off x="6209963" y="2604020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6" name="Round Same Side Corner Rectangle 119">
            <a:extLst>
              <a:ext uri="{FF2B5EF4-FFF2-40B4-BE49-F238E27FC236}">
                <a16:creationId xmlns:a16="http://schemas.microsoft.com/office/drawing/2014/main" id="{357CB1BD-379C-4A6A-9BAE-217A3001102C}"/>
              </a:ext>
            </a:extLst>
          </p:cNvPr>
          <p:cNvSpPr/>
          <p:nvPr/>
        </p:nvSpPr>
        <p:spPr>
          <a:xfrm rot="10800000">
            <a:off x="6209962" y="3386548"/>
            <a:ext cx="52697" cy="46381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7" name="Round Same Side Corner Rectangle 119">
            <a:extLst>
              <a:ext uri="{FF2B5EF4-FFF2-40B4-BE49-F238E27FC236}">
                <a16:creationId xmlns:a16="http://schemas.microsoft.com/office/drawing/2014/main" id="{889837BE-A636-45C1-A311-BEFC3A2D1A53}"/>
              </a:ext>
            </a:extLst>
          </p:cNvPr>
          <p:cNvSpPr/>
          <p:nvPr/>
        </p:nvSpPr>
        <p:spPr>
          <a:xfrm rot="10800000">
            <a:off x="6209963" y="4206250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8" name="Round Same Side Corner Rectangle 119">
            <a:extLst>
              <a:ext uri="{FF2B5EF4-FFF2-40B4-BE49-F238E27FC236}">
                <a16:creationId xmlns:a16="http://schemas.microsoft.com/office/drawing/2014/main" id="{8913414D-DEDC-4EDA-A859-0E0244C0FE57}"/>
              </a:ext>
            </a:extLst>
          </p:cNvPr>
          <p:cNvSpPr/>
          <p:nvPr/>
        </p:nvSpPr>
        <p:spPr>
          <a:xfrm rot="10800000">
            <a:off x="6209963" y="4803696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  <p:sp>
        <p:nvSpPr>
          <p:cNvPr id="199" name="Round Same Side Corner Rectangle 119">
            <a:extLst>
              <a:ext uri="{FF2B5EF4-FFF2-40B4-BE49-F238E27FC236}">
                <a16:creationId xmlns:a16="http://schemas.microsoft.com/office/drawing/2014/main" id="{2C92247D-86AC-4E4A-A350-00B13DFEFB8E}"/>
              </a:ext>
            </a:extLst>
          </p:cNvPr>
          <p:cNvSpPr/>
          <p:nvPr/>
        </p:nvSpPr>
        <p:spPr>
          <a:xfrm rot="10800000">
            <a:off x="6216940" y="5433364"/>
            <a:ext cx="45719" cy="305330"/>
          </a:xfrm>
          <a:prstGeom prst="round2SameRect">
            <a:avLst>
              <a:gd name="adj1" fmla="val 50000"/>
              <a:gd name="adj2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9419" tIns="109710" rIns="219419" bIns="109710" rtlCol="0" anchor="ctr"/>
          <a:lstStyle/>
          <a:p>
            <a:pPr algn="ctr"/>
            <a:endParaRPr lang="hu-HU" sz="2000">
              <a:solidFill>
                <a:schemeClr val="tx1"/>
              </a:solidFill>
              <a:latin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31029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E0F6C3B-E0FF-482E-A97E-22BAED23B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mi érdekes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FD5CAFE1-8E73-41B0-A65B-30BDD0645A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8</a:t>
            </a:fld>
            <a:endParaRPr lang="hu-HU"/>
          </a:p>
        </p:txBody>
      </p:sp>
      <p:sp>
        <p:nvSpPr>
          <p:cNvPr id="4" name="Oval 30">
            <a:extLst>
              <a:ext uri="{FF2B5EF4-FFF2-40B4-BE49-F238E27FC236}">
                <a16:creationId xmlns:a16="http://schemas.microsoft.com/office/drawing/2014/main" id="{F2417160-983F-489E-89A6-3DCC431AD8AB}"/>
              </a:ext>
            </a:extLst>
          </p:cNvPr>
          <p:cNvSpPr/>
          <p:nvPr/>
        </p:nvSpPr>
        <p:spPr bwMode="auto">
          <a:xfrm>
            <a:off x="5885354" y="1560410"/>
            <a:ext cx="722722" cy="72291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5" name="Rectangle 35">
            <a:extLst>
              <a:ext uri="{FF2B5EF4-FFF2-40B4-BE49-F238E27FC236}">
                <a16:creationId xmlns:a16="http://schemas.microsoft.com/office/drawing/2014/main" id="{1FE46E23-A570-40D3-9186-65DA11A1E3E8}"/>
              </a:ext>
            </a:extLst>
          </p:cNvPr>
          <p:cNvSpPr/>
          <p:nvPr/>
        </p:nvSpPr>
        <p:spPr>
          <a:xfrm>
            <a:off x="1720590" y="1538310"/>
            <a:ext cx="2493634" cy="599301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Remote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code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execution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  <a:p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6" name="TextBox 36">
            <a:extLst>
              <a:ext uri="{FF2B5EF4-FFF2-40B4-BE49-F238E27FC236}">
                <a16:creationId xmlns:a16="http://schemas.microsoft.com/office/drawing/2014/main" id="{5290B60C-F6EB-4D05-89F2-44BCAC8BD90C}"/>
              </a:ext>
            </a:extLst>
          </p:cNvPr>
          <p:cNvSpPr txBox="1"/>
          <p:nvPr/>
        </p:nvSpPr>
        <p:spPr>
          <a:xfrm>
            <a:off x="1734082" y="1793178"/>
            <a:ext cx="3043750" cy="510943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hu-HU" sz="1200" dirty="0">
                <a:solidFill>
                  <a:srgbClr val="545454"/>
                </a:solidFill>
              </a:rPr>
              <a:t>S</a:t>
            </a:r>
            <a:r>
              <a:rPr lang="en-US" sz="1200" dirty="0" err="1">
                <a:solidFill>
                  <a:srgbClr val="545454"/>
                </a:solidFill>
              </a:rPr>
              <a:t>ecurity</a:t>
            </a:r>
            <a:r>
              <a:rPr lang="en-US" sz="1200" dirty="0">
                <a:solidFill>
                  <a:srgbClr val="545454"/>
                </a:solidFill>
              </a:rPr>
              <a:t> vulnerability that allows an attacker to execute codes from a remote server.</a:t>
            </a:r>
            <a:endParaRPr lang="en-US" sz="1200" dirty="0">
              <a:cs typeface="Lato Light"/>
            </a:endParaRPr>
          </a:p>
        </p:txBody>
      </p:sp>
      <p:sp>
        <p:nvSpPr>
          <p:cNvPr id="7" name="Oval 84">
            <a:extLst>
              <a:ext uri="{FF2B5EF4-FFF2-40B4-BE49-F238E27FC236}">
                <a16:creationId xmlns:a16="http://schemas.microsoft.com/office/drawing/2014/main" id="{BD441F6E-50E6-4D01-A463-0C0B223BF210}"/>
              </a:ext>
            </a:extLst>
          </p:cNvPr>
          <p:cNvSpPr/>
          <p:nvPr/>
        </p:nvSpPr>
        <p:spPr bwMode="auto">
          <a:xfrm>
            <a:off x="970425" y="1643414"/>
            <a:ext cx="722722" cy="72291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8" name="Oval 87">
            <a:extLst>
              <a:ext uri="{FF2B5EF4-FFF2-40B4-BE49-F238E27FC236}">
                <a16:creationId xmlns:a16="http://schemas.microsoft.com/office/drawing/2014/main" id="{EBD83280-BBE4-4B71-BBE5-969069A617D0}"/>
              </a:ext>
            </a:extLst>
          </p:cNvPr>
          <p:cNvSpPr/>
          <p:nvPr/>
        </p:nvSpPr>
        <p:spPr bwMode="auto">
          <a:xfrm>
            <a:off x="976816" y="2580279"/>
            <a:ext cx="722722" cy="72291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9" name="Oval 89">
            <a:extLst>
              <a:ext uri="{FF2B5EF4-FFF2-40B4-BE49-F238E27FC236}">
                <a16:creationId xmlns:a16="http://schemas.microsoft.com/office/drawing/2014/main" id="{C36B7622-1C2D-4060-987B-237FB4918D26}"/>
              </a:ext>
            </a:extLst>
          </p:cNvPr>
          <p:cNvSpPr/>
          <p:nvPr/>
        </p:nvSpPr>
        <p:spPr bwMode="auto">
          <a:xfrm>
            <a:off x="5888964" y="2507554"/>
            <a:ext cx="722722" cy="72291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10" name="Oval 91">
            <a:extLst>
              <a:ext uri="{FF2B5EF4-FFF2-40B4-BE49-F238E27FC236}">
                <a16:creationId xmlns:a16="http://schemas.microsoft.com/office/drawing/2014/main" id="{1AD7F52B-600C-41E7-8F12-A5E3D5D4E14B}"/>
              </a:ext>
            </a:extLst>
          </p:cNvPr>
          <p:cNvSpPr/>
          <p:nvPr/>
        </p:nvSpPr>
        <p:spPr bwMode="auto">
          <a:xfrm>
            <a:off x="972516" y="3529316"/>
            <a:ext cx="722722" cy="722910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11" name="Oval 92">
            <a:extLst>
              <a:ext uri="{FF2B5EF4-FFF2-40B4-BE49-F238E27FC236}">
                <a16:creationId xmlns:a16="http://schemas.microsoft.com/office/drawing/2014/main" id="{2295A85B-28AC-4CA7-8A00-989C67EF2C56}"/>
              </a:ext>
            </a:extLst>
          </p:cNvPr>
          <p:cNvSpPr/>
          <p:nvPr/>
        </p:nvSpPr>
        <p:spPr bwMode="auto">
          <a:xfrm>
            <a:off x="5888964" y="3465575"/>
            <a:ext cx="722722" cy="72291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12" name="Rectangle 93">
            <a:extLst>
              <a:ext uri="{FF2B5EF4-FFF2-40B4-BE49-F238E27FC236}">
                <a16:creationId xmlns:a16="http://schemas.microsoft.com/office/drawing/2014/main" id="{0F25D96F-E792-4B05-8A99-4BA63DD34B25}"/>
              </a:ext>
            </a:extLst>
          </p:cNvPr>
          <p:cNvSpPr/>
          <p:nvPr/>
        </p:nvSpPr>
        <p:spPr>
          <a:xfrm>
            <a:off x="6647869" y="1509303"/>
            <a:ext cx="1628013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Code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injection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13" name="TextBox 94">
            <a:extLst>
              <a:ext uri="{FF2B5EF4-FFF2-40B4-BE49-F238E27FC236}">
                <a16:creationId xmlns:a16="http://schemas.microsoft.com/office/drawing/2014/main" id="{BC4852C1-10B4-4BDB-9FFA-2287ADABD347}"/>
              </a:ext>
            </a:extLst>
          </p:cNvPr>
          <p:cNvSpPr txBox="1"/>
          <p:nvPr/>
        </p:nvSpPr>
        <p:spPr>
          <a:xfrm>
            <a:off x="6661359" y="1764171"/>
            <a:ext cx="3688657" cy="49299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hu-HU" sz="1200" dirty="0">
                <a:cs typeface="Lato Light"/>
              </a:rPr>
              <a:t>T</a:t>
            </a:r>
            <a:r>
              <a:rPr lang="en-US" sz="1200" dirty="0">
                <a:cs typeface="Lato Light"/>
              </a:rPr>
              <a:t>he general term for attack types which consist of injecting code that is then interpreted/executed by the application.</a:t>
            </a:r>
          </a:p>
        </p:txBody>
      </p:sp>
      <p:sp>
        <p:nvSpPr>
          <p:cNvPr id="14" name="Rectangle 95">
            <a:extLst>
              <a:ext uri="{FF2B5EF4-FFF2-40B4-BE49-F238E27FC236}">
                <a16:creationId xmlns:a16="http://schemas.microsoft.com/office/drawing/2014/main" id="{5370FEEC-4B54-460C-A72B-BF0FD2285436}"/>
              </a:ext>
            </a:extLst>
          </p:cNvPr>
          <p:cNvSpPr/>
          <p:nvPr/>
        </p:nvSpPr>
        <p:spPr>
          <a:xfrm>
            <a:off x="6650834" y="2453760"/>
            <a:ext cx="3856187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Stored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XSS (nem kritikus rendszeren)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15" name="TextBox 96">
            <a:extLst>
              <a:ext uri="{FF2B5EF4-FFF2-40B4-BE49-F238E27FC236}">
                <a16:creationId xmlns:a16="http://schemas.microsoft.com/office/drawing/2014/main" id="{AF95D044-10F6-4713-A84F-3FEA93CF8E2C}"/>
              </a:ext>
            </a:extLst>
          </p:cNvPr>
          <p:cNvSpPr txBox="1"/>
          <p:nvPr/>
        </p:nvSpPr>
        <p:spPr>
          <a:xfrm>
            <a:off x="6664324" y="2708628"/>
            <a:ext cx="3688657" cy="510943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hu-HU" sz="1200" dirty="0">
                <a:cs typeface="Lato Light"/>
              </a:rPr>
              <a:t>T</a:t>
            </a:r>
            <a:r>
              <a:rPr lang="en-US" sz="1200" dirty="0" err="1">
                <a:cs typeface="Lato Light"/>
              </a:rPr>
              <a:t>ype</a:t>
            </a:r>
            <a:r>
              <a:rPr lang="en-US" sz="1200" dirty="0">
                <a:cs typeface="Lato Light"/>
              </a:rPr>
              <a:t> of injection, in which malicious scripts are injected into otherwise benign and trusted web sites.</a:t>
            </a:r>
          </a:p>
        </p:txBody>
      </p:sp>
      <p:sp>
        <p:nvSpPr>
          <p:cNvPr id="16" name="Rectangle 97">
            <a:extLst>
              <a:ext uri="{FF2B5EF4-FFF2-40B4-BE49-F238E27FC236}">
                <a16:creationId xmlns:a16="http://schemas.microsoft.com/office/drawing/2014/main" id="{B881E496-B858-4F88-8168-8CD3D94BA9C0}"/>
              </a:ext>
            </a:extLst>
          </p:cNvPr>
          <p:cNvSpPr/>
          <p:nvPr/>
        </p:nvSpPr>
        <p:spPr>
          <a:xfrm>
            <a:off x="6658395" y="3392359"/>
            <a:ext cx="2447147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Authentication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bypass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17" name="TextBox 98">
            <a:extLst>
              <a:ext uri="{FF2B5EF4-FFF2-40B4-BE49-F238E27FC236}">
                <a16:creationId xmlns:a16="http://schemas.microsoft.com/office/drawing/2014/main" id="{1E954CCA-38D7-42DD-9149-DC82540B51F4}"/>
              </a:ext>
            </a:extLst>
          </p:cNvPr>
          <p:cNvSpPr txBox="1"/>
          <p:nvPr/>
        </p:nvSpPr>
        <p:spPr>
          <a:xfrm>
            <a:off x="6671885" y="3647227"/>
            <a:ext cx="3688657" cy="696122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200" dirty="0">
                <a:cs typeface="Lato Light"/>
              </a:rPr>
              <a:t>An attacker gains access to application, service, or device with the privileges of an authorized or privileged user by evading or circumventing an authentication mechanism</a:t>
            </a:r>
            <a:r>
              <a:rPr lang="hu-HU" sz="1200" dirty="0">
                <a:cs typeface="Lato Light"/>
              </a:rPr>
              <a:t>.</a:t>
            </a:r>
            <a:endParaRPr lang="en-US" sz="1200" dirty="0">
              <a:cs typeface="Lato Light"/>
            </a:endParaRPr>
          </a:p>
        </p:txBody>
      </p:sp>
      <p:sp>
        <p:nvSpPr>
          <p:cNvPr id="18" name="Rectangle 99">
            <a:extLst>
              <a:ext uri="{FF2B5EF4-FFF2-40B4-BE49-F238E27FC236}">
                <a16:creationId xmlns:a16="http://schemas.microsoft.com/office/drawing/2014/main" id="{B4E6CA16-1C65-4ED3-B8C6-89FF5EB1A677}"/>
              </a:ext>
            </a:extLst>
          </p:cNvPr>
          <p:cNvSpPr/>
          <p:nvPr/>
        </p:nvSpPr>
        <p:spPr>
          <a:xfrm>
            <a:off x="1717035" y="2464021"/>
            <a:ext cx="3432994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Stored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XSS (kritikus rendszeren)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19" name="TextBox 100">
            <a:extLst>
              <a:ext uri="{FF2B5EF4-FFF2-40B4-BE49-F238E27FC236}">
                <a16:creationId xmlns:a16="http://schemas.microsoft.com/office/drawing/2014/main" id="{84C0CFB2-23B1-411F-BD4D-5E09F5BC1982}"/>
              </a:ext>
            </a:extLst>
          </p:cNvPr>
          <p:cNvSpPr txBox="1"/>
          <p:nvPr/>
        </p:nvSpPr>
        <p:spPr>
          <a:xfrm>
            <a:off x="1730526" y="2718889"/>
            <a:ext cx="3688657" cy="492990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hu-HU" sz="1200" dirty="0">
                <a:cs typeface="Lato Light"/>
              </a:rPr>
              <a:t>T</a:t>
            </a:r>
            <a:r>
              <a:rPr lang="en-US" sz="1200" dirty="0" err="1">
                <a:cs typeface="Lato Light"/>
              </a:rPr>
              <a:t>ype</a:t>
            </a:r>
            <a:r>
              <a:rPr lang="en-US" sz="1200" dirty="0">
                <a:cs typeface="Lato Light"/>
              </a:rPr>
              <a:t> of injection, in which malicious scripts are injected into otherwise benign and trusted web sites.</a:t>
            </a:r>
          </a:p>
        </p:txBody>
      </p:sp>
      <p:sp>
        <p:nvSpPr>
          <p:cNvPr id="22" name="Freeform 46">
            <a:extLst>
              <a:ext uri="{FF2B5EF4-FFF2-40B4-BE49-F238E27FC236}">
                <a16:creationId xmlns:a16="http://schemas.microsoft.com/office/drawing/2014/main" id="{61F48BE4-6A2C-41E2-9B9E-283B3321F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2664" y="3644885"/>
            <a:ext cx="338757" cy="322628"/>
          </a:xfrm>
          <a:custGeom>
            <a:avLst/>
            <a:gdLst>
              <a:gd name="T0" fmla="*/ 363 w 461"/>
              <a:gd name="T1" fmla="*/ 336 h 443"/>
              <a:gd name="T2" fmla="*/ 363 w 461"/>
              <a:gd name="T3" fmla="*/ 336 h 443"/>
              <a:gd name="T4" fmla="*/ 284 w 461"/>
              <a:gd name="T5" fmla="*/ 248 h 443"/>
              <a:gd name="T6" fmla="*/ 310 w 461"/>
              <a:gd name="T7" fmla="*/ 195 h 443"/>
              <a:gd name="T8" fmla="*/ 328 w 461"/>
              <a:gd name="T9" fmla="*/ 151 h 443"/>
              <a:gd name="T10" fmla="*/ 319 w 461"/>
              <a:gd name="T11" fmla="*/ 132 h 443"/>
              <a:gd name="T12" fmla="*/ 328 w 461"/>
              <a:gd name="T13" fmla="*/ 88 h 443"/>
              <a:gd name="T14" fmla="*/ 230 w 461"/>
              <a:gd name="T15" fmla="*/ 0 h 443"/>
              <a:gd name="T16" fmla="*/ 132 w 461"/>
              <a:gd name="T17" fmla="*/ 88 h 443"/>
              <a:gd name="T18" fmla="*/ 141 w 461"/>
              <a:gd name="T19" fmla="*/ 132 h 443"/>
              <a:gd name="T20" fmla="*/ 132 w 461"/>
              <a:gd name="T21" fmla="*/ 151 h 443"/>
              <a:gd name="T22" fmla="*/ 150 w 461"/>
              <a:gd name="T23" fmla="*/ 195 h 443"/>
              <a:gd name="T24" fmla="*/ 177 w 461"/>
              <a:gd name="T25" fmla="*/ 248 h 443"/>
              <a:gd name="T26" fmla="*/ 97 w 461"/>
              <a:gd name="T27" fmla="*/ 336 h 443"/>
              <a:gd name="T28" fmla="*/ 0 w 461"/>
              <a:gd name="T29" fmla="*/ 398 h 443"/>
              <a:gd name="T30" fmla="*/ 0 w 461"/>
              <a:gd name="T31" fmla="*/ 442 h 443"/>
              <a:gd name="T32" fmla="*/ 230 w 461"/>
              <a:gd name="T33" fmla="*/ 442 h 443"/>
              <a:gd name="T34" fmla="*/ 460 w 461"/>
              <a:gd name="T35" fmla="*/ 442 h 443"/>
              <a:gd name="T36" fmla="*/ 460 w 461"/>
              <a:gd name="T37" fmla="*/ 398 h 443"/>
              <a:gd name="T38" fmla="*/ 363 w 461"/>
              <a:gd name="T39" fmla="*/ 33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61" h="443">
                <a:moveTo>
                  <a:pt x="363" y="336"/>
                </a:moveTo>
                <a:lnTo>
                  <a:pt x="363" y="336"/>
                </a:lnTo>
                <a:cubicBezTo>
                  <a:pt x="301" y="310"/>
                  <a:pt x="284" y="292"/>
                  <a:pt x="284" y="248"/>
                </a:cubicBezTo>
                <a:cubicBezTo>
                  <a:pt x="284" y="230"/>
                  <a:pt x="301" y="239"/>
                  <a:pt x="310" y="195"/>
                </a:cubicBezTo>
                <a:cubicBezTo>
                  <a:pt x="310" y="176"/>
                  <a:pt x="328" y="195"/>
                  <a:pt x="328" y="151"/>
                </a:cubicBezTo>
                <a:cubicBezTo>
                  <a:pt x="328" y="132"/>
                  <a:pt x="319" y="132"/>
                  <a:pt x="319" y="132"/>
                </a:cubicBezTo>
                <a:cubicBezTo>
                  <a:pt x="319" y="132"/>
                  <a:pt x="328" y="106"/>
                  <a:pt x="328" y="88"/>
                </a:cubicBezTo>
                <a:cubicBezTo>
                  <a:pt x="328" y="61"/>
                  <a:pt x="319" y="0"/>
                  <a:pt x="230" y="0"/>
                </a:cubicBezTo>
                <a:cubicBezTo>
                  <a:pt x="141" y="0"/>
                  <a:pt x="132" y="61"/>
                  <a:pt x="132" y="88"/>
                </a:cubicBezTo>
                <a:cubicBezTo>
                  <a:pt x="132" y="106"/>
                  <a:pt x="141" y="132"/>
                  <a:pt x="141" y="132"/>
                </a:cubicBezTo>
                <a:cubicBezTo>
                  <a:pt x="141" y="132"/>
                  <a:pt x="132" y="132"/>
                  <a:pt x="132" y="151"/>
                </a:cubicBezTo>
                <a:cubicBezTo>
                  <a:pt x="132" y="195"/>
                  <a:pt x="150" y="176"/>
                  <a:pt x="150" y="195"/>
                </a:cubicBezTo>
                <a:cubicBezTo>
                  <a:pt x="159" y="239"/>
                  <a:pt x="177" y="230"/>
                  <a:pt x="177" y="248"/>
                </a:cubicBezTo>
                <a:cubicBezTo>
                  <a:pt x="177" y="292"/>
                  <a:pt x="159" y="310"/>
                  <a:pt x="97" y="336"/>
                </a:cubicBezTo>
                <a:cubicBezTo>
                  <a:pt x="35" y="354"/>
                  <a:pt x="0" y="380"/>
                  <a:pt x="0" y="398"/>
                </a:cubicBezTo>
                <a:cubicBezTo>
                  <a:pt x="0" y="407"/>
                  <a:pt x="0" y="442"/>
                  <a:pt x="0" y="442"/>
                </a:cubicBezTo>
                <a:cubicBezTo>
                  <a:pt x="230" y="442"/>
                  <a:pt x="230" y="442"/>
                  <a:pt x="230" y="442"/>
                </a:cubicBezTo>
                <a:cubicBezTo>
                  <a:pt x="460" y="442"/>
                  <a:pt x="460" y="442"/>
                  <a:pt x="460" y="442"/>
                </a:cubicBezTo>
                <a:cubicBezTo>
                  <a:pt x="460" y="442"/>
                  <a:pt x="460" y="407"/>
                  <a:pt x="460" y="398"/>
                </a:cubicBezTo>
                <a:cubicBezTo>
                  <a:pt x="460" y="380"/>
                  <a:pt x="425" y="354"/>
                  <a:pt x="363" y="336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87" dirty="0"/>
          </a:p>
        </p:txBody>
      </p:sp>
      <p:sp>
        <p:nvSpPr>
          <p:cNvPr id="23" name="Freeform 75">
            <a:extLst>
              <a:ext uri="{FF2B5EF4-FFF2-40B4-BE49-F238E27FC236}">
                <a16:creationId xmlns:a16="http://schemas.microsoft.com/office/drawing/2014/main" id="{E344238A-FCFD-4545-810C-AE954C9A6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4307" y="2742446"/>
            <a:ext cx="313174" cy="252202"/>
          </a:xfrm>
          <a:custGeom>
            <a:avLst/>
            <a:gdLst>
              <a:gd name="T0" fmla="*/ 443 w 497"/>
              <a:gd name="T1" fmla="*/ 0 h 400"/>
              <a:gd name="T2" fmla="*/ 443 w 497"/>
              <a:gd name="T3" fmla="*/ 0 h 400"/>
              <a:gd name="T4" fmla="*/ 53 w 497"/>
              <a:gd name="T5" fmla="*/ 0 h 400"/>
              <a:gd name="T6" fmla="*/ 0 w 497"/>
              <a:gd name="T7" fmla="*/ 44 h 400"/>
              <a:gd name="T8" fmla="*/ 0 w 497"/>
              <a:gd name="T9" fmla="*/ 346 h 400"/>
              <a:gd name="T10" fmla="*/ 53 w 497"/>
              <a:gd name="T11" fmla="*/ 399 h 400"/>
              <a:gd name="T12" fmla="*/ 443 w 497"/>
              <a:gd name="T13" fmla="*/ 399 h 400"/>
              <a:gd name="T14" fmla="*/ 496 w 497"/>
              <a:gd name="T15" fmla="*/ 346 h 400"/>
              <a:gd name="T16" fmla="*/ 496 w 497"/>
              <a:gd name="T17" fmla="*/ 44 h 400"/>
              <a:gd name="T18" fmla="*/ 443 w 497"/>
              <a:gd name="T19" fmla="*/ 0 h 400"/>
              <a:gd name="T20" fmla="*/ 443 w 497"/>
              <a:gd name="T21" fmla="*/ 346 h 400"/>
              <a:gd name="T22" fmla="*/ 443 w 497"/>
              <a:gd name="T23" fmla="*/ 346 h 400"/>
              <a:gd name="T24" fmla="*/ 53 w 497"/>
              <a:gd name="T25" fmla="*/ 346 h 400"/>
              <a:gd name="T26" fmla="*/ 53 w 497"/>
              <a:gd name="T27" fmla="*/ 44 h 400"/>
              <a:gd name="T28" fmla="*/ 443 w 497"/>
              <a:gd name="T29" fmla="*/ 44 h 400"/>
              <a:gd name="T30" fmla="*/ 443 w 497"/>
              <a:gd name="T31" fmla="*/ 346 h 400"/>
              <a:gd name="T32" fmla="*/ 222 w 497"/>
              <a:gd name="T33" fmla="*/ 249 h 400"/>
              <a:gd name="T34" fmla="*/ 222 w 497"/>
              <a:gd name="T35" fmla="*/ 249 h 400"/>
              <a:gd name="T36" fmla="*/ 97 w 497"/>
              <a:gd name="T37" fmla="*/ 249 h 400"/>
              <a:gd name="T38" fmla="*/ 97 w 497"/>
              <a:gd name="T39" fmla="*/ 293 h 400"/>
              <a:gd name="T40" fmla="*/ 222 w 497"/>
              <a:gd name="T41" fmla="*/ 293 h 400"/>
              <a:gd name="T42" fmla="*/ 222 w 497"/>
              <a:gd name="T43" fmla="*/ 249 h 400"/>
              <a:gd name="T44" fmla="*/ 222 w 497"/>
              <a:gd name="T45" fmla="*/ 178 h 400"/>
              <a:gd name="T46" fmla="*/ 222 w 497"/>
              <a:gd name="T47" fmla="*/ 178 h 400"/>
              <a:gd name="T48" fmla="*/ 97 w 497"/>
              <a:gd name="T49" fmla="*/ 178 h 400"/>
              <a:gd name="T50" fmla="*/ 97 w 497"/>
              <a:gd name="T51" fmla="*/ 222 h 400"/>
              <a:gd name="T52" fmla="*/ 222 w 497"/>
              <a:gd name="T53" fmla="*/ 222 h 400"/>
              <a:gd name="T54" fmla="*/ 222 w 497"/>
              <a:gd name="T55" fmla="*/ 178 h 400"/>
              <a:gd name="T56" fmla="*/ 222 w 497"/>
              <a:gd name="T57" fmla="*/ 98 h 400"/>
              <a:gd name="T58" fmla="*/ 222 w 497"/>
              <a:gd name="T59" fmla="*/ 98 h 400"/>
              <a:gd name="T60" fmla="*/ 97 w 497"/>
              <a:gd name="T61" fmla="*/ 98 h 400"/>
              <a:gd name="T62" fmla="*/ 97 w 497"/>
              <a:gd name="T63" fmla="*/ 143 h 400"/>
              <a:gd name="T64" fmla="*/ 222 w 497"/>
              <a:gd name="T65" fmla="*/ 143 h 400"/>
              <a:gd name="T66" fmla="*/ 222 w 497"/>
              <a:gd name="T67" fmla="*/ 98 h 400"/>
              <a:gd name="T68" fmla="*/ 389 w 497"/>
              <a:gd name="T69" fmla="*/ 257 h 400"/>
              <a:gd name="T70" fmla="*/ 389 w 497"/>
              <a:gd name="T71" fmla="*/ 257 h 400"/>
              <a:gd name="T72" fmla="*/ 354 w 497"/>
              <a:gd name="T73" fmla="*/ 231 h 400"/>
              <a:gd name="T74" fmla="*/ 381 w 497"/>
              <a:gd name="T75" fmla="*/ 151 h 400"/>
              <a:gd name="T76" fmla="*/ 336 w 497"/>
              <a:gd name="T77" fmla="*/ 98 h 400"/>
              <a:gd name="T78" fmla="*/ 292 w 497"/>
              <a:gd name="T79" fmla="*/ 151 h 400"/>
              <a:gd name="T80" fmla="*/ 319 w 497"/>
              <a:gd name="T81" fmla="*/ 231 h 400"/>
              <a:gd name="T82" fmla="*/ 275 w 497"/>
              <a:gd name="T83" fmla="*/ 257 h 400"/>
              <a:gd name="T84" fmla="*/ 275 w 497"/>
              <a:gd name="T85" fmla="*/ 293 h 400"/>
              <a:gd name="T86" fmla="*/ 398 w 497"/>
              <a:gd name="T87" fmla="*/ 293 h 400"/>
              <a:gd name="T88" fmla="*/ 389 w 497"/>
              <a:gd name="T89" fmla="*/ 257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97" h="400">
                <a:moveTo>
                  <a:pt x="443" y="0"/>
                </a:moveTo>
                <a:lnTo>
                  <a:pt x="443" y="0"/>
                </a:lnTo>
                <a:cubicBezTo>
                  <a:pt x="53" y="0"/>
                  <a:pt x="53" y="0"/>
                  <a:pt x="53" y="0"/>
                </a:cubicBezTo>
                <a:cubicBezTo>
                  <a:pt x="17" y="0"/>
                  <a:pt x="0" y="18"/>
                  <a:pt x="0" y="44"/>
                </a:cubicBezTo>
                <a:cubicBezTo>
                  <a:pt x="0" y="346"/>
                  <a:pt x="0" y="346"/>
                  <a:pt x="0" y="346"/>
                </a:cubicBezTo>
                <a:cubicBezTo>
                  <a:pt x="0" y="373"/>
                  <a:pt x="17" y="399"/>
                  <a:pt x="53" y="399"/>
                </a:cubicBezTo>
                <a:cubicBezTo>
                  <a:pt x="443" y="399"/>
                  <a:pt x="443" y="399"/>
                  <a:pt x="443" y="399"/>
                </a:cubicBezTo>
                <a:cubicBezTo>
                  <a:pt x="470" y="399"/>
                  <a:pt x="496" y="373"/>
                  <a:pt x="496" y="346"/>
                </a:cubicBezTo>
                <a:cubicBezTo>
                  <a:pt x="496" y="44"/>
                  <a:pt x="496" y="44"/>
                  <a:pt x="496" y="44"/>
                </a:cubicBezTo>
                <a:cubicBezTo>
                  <a:pt x="496" y="18"/>
                  <a:pt x="470" y="0"/>
                  <a:pt x="443" y="0"/>
                </a:cubicBezTo>
                <a:close/>
                <a:moveTo>
                  <a:pt x="443" y="346"/>
                </a:moveTo>
                <a:lnTo>
                  <a:pt x="443" y="346"/>
                </a:lnTo>
                <a:cubicBezTo>
                  <a:pt x="53" y="346"/>
                  <a:pt x="53" y="346"/>
                  <a:pt x="53" y="346"/>
                </a:cubicBezTo>
                <a:cubicBezTo>
                  <a:pt x="53" y="44"/>
                  <a:pt x="53" y="44"/>
                  <a:pt x="53" y="44"/>
                </a:cubicBezTo>
                <a:cubicBezTo>
                  <a:pt x="443" y="44"/>
                  <a:pt x="443" y="44"/>
                  <a:pt x="443" y="44"/>
                </a:cubicBezTo>
                <a:lnTo>
                  <a:pt x="443" y="346"/>
                </a:lnTo>
                <a:close/>
                <a:moveTo>
                  <a:pt x="222" y="249"/>
                </a:moveTo>
                <a:lnTo>
                  <a:pt x="222" y="249"/>
                </a:lnTo>
                <a:cubicBezTo>
                  <a:pt x="97" y="249"/>
                  <a:pt x="97" y="249"/>
                  <a:pt x="97" y="249"/>
                </a:cubicBezTo>
                <a:cubicBezTo>
                  <a:pt x="97" y="293"/>
                  <a:pt x="97" y="293"/>
                  <a:pt x="97" y="293"/>
                </a:cubicBezTo>
                <a:cubicBezTo>
                  <a:pt x="222" y="293"/>
                  <a:pt x="222" y="293"/>
                  <a:pt x="222" y="293"/>
                </a:cubicBezTo>
                <a:lnTo>
                  <a:pt x="222" y="249"/>
                </a:lnTo>
                <a:close/>
                <a:moveTo>
                  <a:pt x="222" y="178"/>
                </a:moveTo>
                <a:lnTo>
                  <a:pt x="222" y="178"/>
                </a:lnTo>
                <a:cubicBezTo>
                  <a:pt x="97" y="178"/>
                  <a:pt x="97" y="178"/>
                  <a:pt x="97" y="178"/>
                </a:cubicBezTo>
                <a:cubicBezTo>
                  <a:pt x="97" y="222"/>
                  <a:pt x="97" y="222"/>
                  <a:pt x="97" y="222"/>
                </a:cubicBezTo>
                <a:cubicBezTo>
                  <a:pt x="222" y="222"/>
                  <a:pt x="222" y="222"/>
                  <a:pt x="222" y="222"/>
                </a:cubicBezTo>
                <a:lnTo>
                  <a:pt x="222" y="178"/>
                </a:lnTo>
                <a:close/>
                <a:moveTo>
                  <a:pt x="222" y="98"/>
                </a:moveTo>
                <a:lnTo>
                  <a:pt x="222" y="98"/>
                </a:lnTo>
                <a:cubicBezTo>
                  <a:pt x="97" y="98"/>
                  <a:pt x="97" y="98"/>
                  <a:pt x="97" y="98"/>
                </a:cubicBezTo>
                <a:cubicBezTo>
                  <a:pt x="97" y="143"/>
                  <a:pt x="97" y="143"/>
                  <a:pt x="97" y="143"/>
                </a:cubicBezTo>
                <a:cubicBezTo>
                  <a:pt x="222" y="143"/>
                  <a:pt x="222" y="143"/>
                  <a:pt x="222" y="143"/>
                </a:cubicBezTo>
                <a:lnTo>
                  <a:pt x="222" y="98"/>
                </a:lnTo>
                <a:close/>
                <a:moveTo>
                  <a:pt x="389" y="257"/>
                </a:moveTo>
                <a:lnTo>
                  <a:pt x="389" y="257"/>
                </a:lnTo>
                <a:cubicBezTo>
                  <a:pt x="389" y="257"/>
                  <a:pt x="354" y="249"/>
                  <a:pt x="354" y="231"/>
                </a:cubicBezTo>
                <a:cubicBezTo>
                  <a:pt x="354" y="204"/>
                  <a:pt x="381" y="196"/>
                  <a:pt x="381" y="151"/>
                </a:cubicBezTo>
                <a:cubicBezTo>
                  <a:pt x="381" y="125"/>
                  <a:pt x="372" y="98"/>
                  <a:pt x="336" y="98"/>
                </a:cubicBezTo>
                <a:cubicBezTo>
                  <a:pt x="301" y="98"/>
                  <a:pt x="292" y="125"/>
                  <a:pt x="292" y="151"/>
                </a:cubicBezTo>
                <a:cubicBezTo>
                  <a:pt x="292" y="196"/>
                  <a:pt x="319" y="204"/>
                  <a:pt x="319" y="231"/>
                </a:cubicBezTo>
                <a:cubicBezTo>
                  <a:pt x="319" y="249"/>
                  <a:pt x="275" y="257"/>
                  <a:pt x="275" y="257"/>
                </a:cubicBezTo>
                <a:lnTo>
                  <a:pt x="275" y="293"/>
                </a:lnTo>
                <a:cubicBezTo>
                  <a:pt x="398" y="293"/>
                  <a:pt x="398" y="293"/>
                  <a:pt x="398" y="293"/>
                </a:cubicBezTo>
                <a:cubicBezTo>
                  <a:pt x="398" y="293"/>
                  <a:pt x="398" y="257"/>
                  <a:pt x="389" y="25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87" dirty="0"/>
          </a:p>
        </p:txBody>
      </p:sp>
      <p:sp>
        <p:nvSpPr>
          <p:cNvPr id="25" name="Oval 92">
            <a:extLst>
              <a:ext uri="{FF2B5EF4-FFF2-40B4-BE49-F238E27FC236}">
                <a16:creationId xmlns:a16="http://schemas.microsoft.com/office/drawing/2014/main" id="{482B4D12-7250-4D87-B942-49B5DD002C51}"/>
              </a:ext>
            </a:extLst>
          </p:cNvPr>
          <p:cNvSpPr/>
          <p:nvPr/>
        </p:nvSpPr>
        <p:spPr bwMode="auto">
          <a:xfrm>
            <a:off x="3964143" y="4611647"/>
            <a:ext cx="722722" cy="722910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5970">
              <a:defRPr/>
            </a:pPr>
            <a:endParaRPr lang="en-US" sz="1087" dirty="0">
              <a:latin typeface="Lato Light"/>
            </a:endParaRPr>
          </a:p>
        </p:txBody>
      </p:sp>
      <p:sp>
        <p:nvSpPr>
          <p:cNvPr id="26" name="Rectangle 101">
            <a:extLst>
              <a:ext uri="{FF2B5EF4-FFF2-40B4-BE49-F238E27FC236}">
                <a16:creationId xmlns:a16="http://schemas.microsoft.com/office/drawing/2014/main" id="{51762A33-7421-42E0-8305-70BBCF603CEC}"/>
              </a:ext>
            </a:extLst>
          </p:cNvPr>
          <p:cNvSpPr/>
          <p:nvPr/>
        </p:nvSpPr>
        <p:spPr>
          <a:xfrm>
            <a:off x="1767137" y="3503904"/>
            <a:ext cx="1478933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Sql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injection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27" name="TextBox 102">
            <a:extLst>
              <a:ext uri="{FF2B5EF4-FFF2-40B4-BE49-F238E27FC236}">
                <a16:creationId xmlns:a16="http://schemas.microsoft.com/office/drawing/2014/main" id="{3B856A90-CE5C-4F18-827A-BA63F69365A0}"/>
              </a:ext>
            </a:extLst>
          </p:cNvPr>
          <p:cNvSpPr txBox="1"/>
          <p:nvPr/>
        </p:nvSpPr>
        <p:spPr>
          <a:xfrm>
            <a:off x="1780628" y="3758772"/>
            <a:ext cx="3688657" cy="696122"/>
          </a:xfrm>
          <a:prstGeom prst="rect">
            <a:avLst/>
          </a:prstGeom>
          <a:noFill/>
        </p:spPr>
        <p:txBody>
          <a:bodyPr wrap="square" lIns="103665" tIns="51833" rIns="103665" bIns="51833" rtlCol="0">
            <a:spAutoFit/>
          </a:bodyPr>
          <a:lstStyle/>
          <a:p>
            <a:pPr>
              <a:lnSpc>
                <a:spcPct val="110000"/>
              </a:lnSpc>
            </a:pPr>
            <a:r>
              <a:rPr lang="hu-HU" sz="1200" dirty="0">
                <a:cs typeface="Lato Light"/>
              </a:rPr>
              <a:t>A</a:t>
            </a:r>
            <a:r>
              <a:rPr lang="en-US" sz="1200" dirty="0">
                <a:cs typeface="Lato Light"/>
              </a:rPr>
              <a:t> code injection technique, used to attack data-driven applications, in which nefarious SQL statements are inserted into an entry field for execution</a:t>
            </a:r>
            <a:r>
              <a:rPr lang="hu-HU" sz="1200" dirty="0">
                <a:cs typeface="Lato Light"/>
              </a:rPr>
              <a:t>.</a:t>
            </a:r>
            <a:endParaRPr lang="en-US" sz="1200" dirty="0">
              <a:cs typeface="Lato Light"/>
            </a:endParaRPr>
          </a:p>
        </p:txBody>
      </p:sp>
      <p:sp>
        <p:nvSpPr>
          <p:cNvPr id="29" name="Rectangle 95">
            <a:extLst>
              <a:ext uri="{FF2B5EF4-FFF2-40B4-BE49-F238E27FC236}">
                <a16:creationId xmlns:a16="http://schemas.microsoft.com/office/drawing/2014/main" id="{18EB7126-5AB8-4ACA-B4B6-F41359CA69A7}"/>
              </a:ext>
            </a:extLst>
          </p:cNvPr>
          <p:cNvSpPr/>
          <p:nvPr/>
        </p:nvSpPr>
        <p:spPr>
          <a:xfrm>
            <a:off x="4848693" y="4797107"/>
            <a:ext cx="2315701" cy="351990"/>
          </a:xfrm>
          <a:prstGeom prst="rect">
            <a:avLst/>
          </a:prstGeom>
        </p:spPr>
        <p:txBody>
          <a:bodyPr wrap="none" lIns="103665" tIns="51833" rIns="103665" bIns="51833">
            <a:spAutoFit/>
          </a:bodyPr>
          <a:lstStyle/>
          <a:p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User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data</a:t>
            </a:r>
            <a:r>
              <a:rPr lang="hu-HU" sz="1607" b="1" dirty="0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 </a:t>
            </a:r>
            <a:r>
              <a:rPr lang="hu-HU" sz="1607" b="1" dirty="0" err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Lato Regular"/>
              </a:rPr>
              <a:t>disclosure</a:t>
            </a:r>
            <a:endParaRPr lang="en-US" sz="1607" b="1" dirty="0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Lato Regular"/>
            </a:endParaRPr>
          </a:p>
        </p:txBody>
      </p:sp>
      <p:sp>
        <p:nvSpPr>
          <p:cNvPr id="31" name="Freeform 171">
            <a:extLst>
              <a:ext uri="{FF2B5EF4-FFF2-40B4-BE49-F238E27FC236}">
                <a16:creationId xmlns:a16="http://schemas.microsoft.com/office/drawing/2014/main" id="{FEF5803D-AC41-467C-9F19-CFD086C83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547" y="1838124"/>
            <a:ext cx="355601" cy="355601"/>
          </a:xfrm>
          <a:custGeom>
            <a:avLst/>
            <a:gdLst>
              <a:gd name="T0" fmla="*/ 106062 w 589"/>
              <a:gd name="T1" fmla="*/ 69145 h 590"/>
              <a:gd name="T2" fmla="*/ 106062 w 589"/>
              <a:gd name="T3" fmla="*/ 137930 h 590"/>
              <a:gd name="T4" fmla="*/ 106062 w 589"/>
              <a:gd name="T5" fmla="*/ 69145 h 590"/>
              <a:gd name="T6" fmla="*/ 106062 w 589"/>
              <a:gd name="T7" fmla="*/ 127486 h 590"/>
              <a:gd name="T8" fmla="*/ 106062 w 589"/>
              <a:gd name="T9" fmla="*/ 84991 h 590"/>
              <a:gd name="T10" fmla="*/ 106062 w 589"/>
              <a:gd name="T11" fmla="*/ 127486 h 590"/>
              <a:gd name="T12" fmla="*/ 207074 w 589"/>
              <a:gd name="T13" fmla="*/ 127486 h 590"/>
              <a:gd name="T14" fmla="*/ 190840 w 589"/>
              <a:gd name="T15" fmla="*/ 106239 h 590"/>
              <a:gd name="T16" fmla="*/ 207074 w 589"/>
              <a:gd name="T17" fmla="*/ 79589 h 590"/>
              <a:gd name="T18" fmla="*/ 196251 w 589"/>
              <a:gd name="T19" fmla="*/ 37454 h 590"/>
              <a:gd name="T20" fmla="*/ 159093 w 589"/>
              <a:gd name="T21" fmla="*/ 42495 h 590"/>
              <a:gd name="T22" fmla="*/ 132397 w 589"/>
              <a:gd name="T23" fmla="*/ 10804 h 590"/>
              <a:gd name="T24" fmla="*/ 90189 w 589"/>
              <a:gd name="T25" fmla="*/ 0 h 590"/>
              <a:gd name="T26" fmla="*/ 79366 w 589"/>
              <a:gd name="T27" fmla="*/ 26650 h 590"/>
              <a:gd name="T28" fmla="*/ 37158 w 589"/>
              <a:gd name="T29" fmla="*/ 32052 h 590"/>
              <a:gd name="T30" fmla="*/ 0 w 589"/>
              <a:gd name="T31" fmla="*/ 58701 h 590"/>
              <a:gd name="T32" fmla="*/ 20924 w 589"/>
              <a:gd name="T33" fmla="*/ 90393 h 590"/>
              <a:gd name="T34" fmla="*/ 20924 w 589"/>
              <a:gd name="T35" fmla="*/ 122084 h 590"/>
              <a:gd name="T36" fmla="*/ 0 w 589"/>
              <a:gd name="T37" fmla="*/ 148734 h 590"/>
              <a:gd name="T38" fmla="*/ 37158 w 589"/>
              <a:gd name="T39" fmla="*/ 180425 h 590"/>
              <a:gd name="T40" fmla="*/ 79366 w 589"/>
              <a:gd name="T41" fmla="*/ 185827 h 590"/>
              <a:gd name="T42" fmla="*/ 90189 w 589"/>
              <a:gd name="T43" fmla="*/ 212117 h 590"/>
              <a:gd name="T44" fmla="*/ 132397 w 589"/>
              <a:gd name="T45" fmla="*/ 196271 h 590"/>
              <a:gd name="T46" fmla="*/ 159093 w 589"/>
              <a:gd name="T47" fmla="*/ 169982 h 590"/>
              <a:gd name="T48" fmla="*/ 196251 w 589"/>
              <a:gd name="T49" fmla="*/ 175023 h 590"/>
              <a:gd name="T50" fmla="*/ 207074 w 589"/>
              <a:gd name="T51" fmla="*/ 127486 h 590"/>
              <a:gd name="T52" fmla="*/ 196251 w 589"/>
              <a:gd name="T53" fmla="*/ 148734 h 590"/>
              <a:gd name="T54" fmla="*/ 180378 w 589"/>
              <a:gd name="T55" fmla="*/ 164580 h 590"/>
              <a:gd name="T56" fmla="*/ 121935 w 589"/>
              <a:gd name="T57" fmla="*/ 175023 h 590"/>
              <a:gd name="T58" fmla="*/ 111473 w 589"/>
              <a:gd name="T59" fmla="*/ 196271 h 590"/>
              <a:gd name="T60" fmla="*/ 90189 w 589"/>
              <a:gd name="T61" fmla="*/ 190869 h 590"/>
              <a:gd name="T62" fmla="*/ 53031 w 589"/>
              <a:gd name="T63" fmla="*/ 153776 h 590"/>
              <a:gd name="T64" fmla="*/ 26335 w 589"/>
              <a:gd name="T65" fmla="*/ 159178 h 590"/>
              <a:gd name="T66" fmla="*/ 20924 w 589"/>
              <a:gd name="T67" fmla="*/ 137930 h 590"/>
              <a:gd name="T68" fmla="*/ 37158 w 589"/>
              <a:gd name="T69" fmla="*/ 106239 h 590"/>
              <a:gd name="T70" fmla="*/ 20924 w 589"/>
              <a:gd name="T71" fmla="*/ 69145 h 590"/>
              <a:gd name="T72" fmla="*/ 26335 w 589"/>
              <a:gd name="T73" fmla="*/ 47897 h 590"/>
              <a:gd name="T74" fmla="*/ 53031 w 589"/>
              <a:gd name="T75" fmla="*/ 58701 h 590"/>
              <a:gd name="T76" fmla="*/ 90189 w 589"/>
              <a:gd name="T77" fmla="*/ 21248 h 590"/>
              <a:gd name="T78" fmla="*/ 111473 w 589"/>
              <a:gd name="T79" fmla="*/ 10804 h 590"/>
              <a:gd name="T80" fmla="*/ 121935 w 589"/>
              <a:gd name="T81" fmla="*/ 37454 h 590"/>
              <a:gd name="T82" fmla="*/ 180378 w 589"/>
              <a:gd name="T83" fmla="*/ 47897 h 590"/>
              <a:gd name="T84" fmla="*/ 196251 w 589"/>
              <a:gd name="T85" fmla="*/ 58701 h 590"/>
              <a:gd name="T86" fmla="*/ 174966 w 589"/>
              <a:gd name="T87" fmla="*/ 79589 h 590"/>
              <a:gd name="T88" fmla="*/ 174966 w 589"/>
              <a:gd name="T89" fmla="*/ 127486 h 590"/>
              <a:gd name="T90" fmla="*/ 196251 w 589"/>
              <a:gd name="T91" fmla="*/ 148734 h 59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589" h="590">
                <a:moveTo>
                  <a:pt x="294" y="192"/>
                </a:moveTo>
                <a:lnTo>
                  <a:pt x="294" y="192"/>
                </a:lnTo>
                <a:cubicBezTo>
                  <a:pt x="235" y="192"/>
                  <a:pt x="191" y="236"/>
                  <a:pt x="191" y="295"/>
                </a:cubicBezTo>
                <a:cubicBezTo>
                  <a:pt x="191" y="339"/>
                  <a:pt x="235" y="383"/>
                  <a:pt x="294" y="383"/>
                </a:cubicBezTo>
                <a:cubicBezTo>
                  <a:pt x="353" y="383"/>
                  <a:pt x="397" y="339"/>
                  <a:pt x="397" y="295"/>
                </a:cubicBezTo>
                <a:cubicBezTo>
                  <a:pt x="397" y="236"/>
                  <a:pt x="353" y="192"/>
                  <a:pt x="294" y="192"/>
                </a:cubicBezTo>
                <a:close/>
                <a:moveTo>
                  <a:pt x="294" y="354"/>
                </a:moveTo>
                <a:lnTo>
                  <a:pt x="294" y="354"/>
                </a:lnTo>
                <a:cubicBezTo>
                  <a:pt x="265" y="354"/>
                  <a:pt x="235" y="324"/>
                  <a:pt x="235" y="295"/>
                </a:cubicBezTo>
                <a:cubicBezTo>
                  <a:pt x="235" y="251"/>
                  <a:pt x="265" y="236"/>
                  <a:pt x="294" y="236"/>
                </a:cubicBezTo>
                <a:cubicBezTo>
                  <a:pt x="324" y="236"/>
                  <a:pt x="353" y="251"/>
                  <a:pt x="353" y="295"/>
                </a:cubicBezTo>
                <a:cubicBezTo>
                  <a:pt x="353" y="324"/>
                  <a:pt x="324" y="354"/>
                  <a:pt x="294" y="354"/>
                </a:cubicBezTo>
                <a:close/>
                <a:moveTo>
                  <a:pt x="574" y="354"/>
                </a:moveTo>
                <a:lnTo>
                  <a:pt x="574" y="354"/>
                </a:lnTo>
                <a:cubicBezTo>
                  <a:pt x="529" y="339"/>
                  <a:pt x="529" y="339"/>
                  <a:pt x="529" y="339"/>
                </a:cubicBezTo>
                <a:cubicBezTo>
                  <a:pt x="529" y="324"/>
                  <a:pt x="529" y="309"/>
                  <a:pt x="529" y="295"/>
                </a:cubicBezTo>
                <a:cubicBezTo>
                  <a:pt x="529" y="280"/>
                  <a:pt x="529" y="265"/>
                  <a:pt x="529" y="251"/>
                </a:cubicBezTo>
                <a:cubicBezTo>
                  <a:pt x="574" y="221"/>
                  <a:pt x="574" y="221"/>
                  <a:pt x="574" y="221"/>
                </a:cubicBezTo>
                <a:cubicBezTo>
                  <a:pt x="588" y="206"/>
                  <a:pt x="588" y="192"/>
                  <a:pt x="588" y="163"/>
                </a:cubicBezTo>
                <a:cubicBezTo>
                  <a:pt x="544" y="104"/>
                  <a:pt x="544" y="104"/>
                  <a:pt x="544" y="104"/>
                </a:cubicBezTo>
                <a:cubicBezTo>
                  <a:pt x="529" y="74"/>
                  <a:pt x="515" y="74"/>
                  <a:pt x="485" y="89"/>
                </a:cubicBezTo>
                <a:cubicBezTo>
                  <a:pt x="441" y="118"/>
                  <a:pt x="441" y="118"/>
                  <a:pt x="441" y="118"/>
                </a:cubicBezTo>
                <a:cubicBezTo>
                  <a:pt x="426" y="89"/>
                  <a:pt x="397" y="74"/>
                  <a:pt x="367" y="74"/>
                </a:cubicBezTo>
                <a:cubicBezTo>
                  <a:pt x="367" y="30"/>
                  <a:pt x="367" y="30"/>
                  <a:pt x="367" y="30"/>
                </a:cubicBezTo>
                <a:cubicBezTo>
                  <a:pt x="367" y="15"/>
                  <a:pt x="353" y="0"/>
                  <a:pt x="338" y="0"/>
                </a:cubicBezTo>
                <a:cubicBezTo>
                  <a:pt x="250" y="0"/>
                  <a:pt x="250" y="0"/>
                  <a:pt x="250" y="0"/>
                </a:cubicBezTo>
                <a:cubicBezTo>
                  <a:pt x="235" y="0"/>
                  <a:pt x="220" y="15"/>
                  <a:pt x="220" y="30"/>
                </a:cubicBezTo>
                <a:cubicBezTo>
                  <a:pt x="220" y="74"/>
                  <a:pt x="220" y="74"/>
                  <a:pt x="220" y="74"/>
                </a:cubicBezTo>
                <a:cubicBezTo>
                  <a:pt x="191" y="74"/>
                  <a:pt x="162" y="89"/>
                  <a:pt x="147" y="118"/>
                </a:cubicBezTo>
                <a:cubicBezTo>
                  <a:pt x="103" y="89"/>
                  <a:pt x="103" y="89"/>
                  <a:pt x="103" y="89"/>
                </a:cubicBezTo>
                <a:cubicBezTo>
                  <a:pt x="73" y="74"/>
                  <a:pt x="58" y="74"/>
                  <a:pt x="44" y="104"/>
                </a:cubicBezTo>
                <a:cubicBezTo>
                  <a:pt x="0" y="163"/>
                  <a:pt x="0" y="163"/>
                  <a:pt x="0" y="163"/>
                </a:cubicBezTo>
                <a:cubicBezTo>
                  <a:pt x="0" y="192"/>
                  <a:pt x="0" y="206"/>
                  <a:pt x="14" y="221"/>
                </a:cubicBezTo>
                <a:cubicBezTo>
                  <a:pt x="58" y="251"/>
                  <a:pt x="58" y="251"/>
                  <a:pt x="58" y="251"/>
                </a:cubicBezTo>
                <a:cubicBezTo>
                  <a:pt x="58" y="265"/>
                  <a:pt x="58" y="280"/>
                  <a:pt x="58" y="295"/>
                </a:cubicBezTo>
                <a:cubicBezTo>
                  <a:pt x="58" y="309"/>
                  <a:pt x="58" y="324"/>
                  <a:pt x="58" y="339"/>
                </a:cubicBezTo>
                <a:cubicBezTo>
                  <a:pt x="14" y="354"/>
                  <a:pt x="14" y="354"/>
                  <a:pt x="14" y="354"/>
                </a:cubicBezTo>
                <a:cubicBezTo>
                  <a:pt x="0" y="368"/>
                  <a:pt x="0" y="398"/>
                  <a:pt x="0" y="413"/>
                </a:cubicBezTo>
                <a:cubicBezTo>
                  <a:pt x="44" y="486"/>
                  <a:pt x="44" y="486"/>
                  <a:pt x="44" y="486"/>
                </a:cubicBezTo>
                <a:cubicBezTo>
                  <a:pt x="58" y="501"/>
                  <a:pt x="73" y="501"/>
                  <a:pt x="103" y="501"/>
                </a:cubicBezTo>
                <a:cubicBezTo>
                  <a:pt x="147" y="472"/>
                  <a:pt x="147" y="472"/>
                  <a:pt x="147" y="472"/>
                </a:cubicBezTo>
                <a:cubicBezTo>
                  <a:pt x="162" y="486"/>
                  <a:pt x="191" y="501"/>
                  <a:pt x="220" y="516"/>
                </a:cubicBezTo>
                <a:cubicBezTo>
                  <a:pt x="220" y="545"/>
                  <a:pt x="220" y="545"/>
                  <a:pt x="220" y="545"/>
                </a:cubicBezTo>
                <a:cubicBezTo>
                  <a:pt x="220" y="560"/>
                  <a:pt x="235" y="589"/>
                  <a:pt x="250" y="589"/>
                </a:cubicBezTo>
                <a:cubicBezTo>
                  <a:pt x="338" y="589"/>
                  <a:pt x="338" y="589"/>
                  <a:pt x="338" y="589"/>
                </a:cubicBezTo>
                <a:cubicBezTo>
                  <a:pt x="353" y="589"/>
                  <a:pt x="367" y="560"/>
                  <a:pt x="367" y="545"/>
                </a:cubicBezTo>
                <a:cubicBezTo>
                  <a:pt x="367" y="516"/>
                  <a:pt x="367" y="516"/>
                  <a:pt x="367" y="516"/>
                </a:cubicBezTo>
                <a:cubicBezTo>
                  <a:pt x="397" y="501"/>
                  <a:pt x="426" y="486"/>
                  <a:pt x="441" y="472"/>
                </a:cubicBezTo>
                <a:cubicBezTo>
                  <a:pt x="485" y="501"/>
                  <a:pt x="485" y="501"/>
                  <a:pt x="485" y="501"/>
                </a:cubicBezTo>
                <a:cubicBezTo>
                  <a:pt x="515" y="501"/>
                  <a:pt x="529" y="501"/>
                  <a:pt x="544" y="486"/>
                </a:cubicBezTo>
                <a:cubicBezTo>
                  <a:pt x="588" y="413"/>
                  <a:pt x="588" y="413"/>
                  <a:pt x="588" y="413"/>
                </a:cubicBezTo>
                <a:cubicBezTo>
                  <a:pt x="588" y="398"/>
                  <a:pt x="588" y="368"/>
                  <a:pt x="574" y="354"/>
                </a:cubicBezTo>
                <a:close/>
                <a:moveTo>
                  <a:pt x="544" y="413"/>
                </a:moveTo>
                <a:lnTo>
                  <a:pt x="544" y="413"/>
                </a:lnTo>
                <a:cubicBezTo>
                  <a:pt x="515" y="442"/>
                  <a:pt x="515" y="442"/>
                  <a:pt x="515" y="442"/>
                </a:cubicBezTo>
                <a:cubicBezTo>
                  <a:pt x="515" y="457"/>
                  <a:pt x="500" y="457"/>
                  <a:pt x="500" y="457"/>
                </a:cubicBezTo>
                <a:cubicBezTo>
                  <a:pt x="441" y="427"/>
                  <a:pt x="441" y="427"/>
                  <a:pt x="441" y="427"/>
                </a:cubicBezTo>
                <a:cubicBezTo>
                  <a:pt x="412" y="457"/>
                  <a:pt x="382" y="472"/>
                  <a:pt x="338" y="486"/>
                </a:cubicBezTo>
                <a:cubicBezTo>
                  <a:pt x="338" y="530"/>
                  <a:pt x="338" y="530"/>
                  <a:pt x="338" y="530"/>
                </a:cubicBezTo>
                <a:cubicBezTo>
                  <a:pt x="338" y="530"/>
                  <a:pt x="324" y="545"/>
                  <a:pt x="309" y="545"/>
                </a:cubicBezTo>
                <a:cubicBezTo>
                  <a:pt x="279" y="545"/>
                  <a:pt x="279" y="545"/>
                  <a:pt x="279" y="545"/>
                </a:cubicBezTo>
                <a:cubicBezTo>
                  <a:pt x="265" y="545"/>
                  <a:pt x="250" y="530"/>
                  <a:pt x="250" y="530"/>
                </a:cubicBezTo>
                <a:cubicBezTo>
                  <a:pt x="250" y="486"/>
                  <a:pt x="250" y="486"/>
                  <a:pt x="250" y="486"/>
                </a:cubicBezTo>
                <a:cubicBezTo>
                  <a:pt x="206" y="472"/>
                  <a:pt x="176" y="457"/>
                  <a:pt x="147" y="427"/>
                </a:cubicBezTo>
                <a:cubicBezTo>
                  <a:pt x="88" y="457"/>
                  <a:pt x="88" y="457"/>
                  <a:pt x="88" y="457"/>
                </a:cubicBezTo>
                <a:cubicBezTo>
                  <a:pt x="88" y="457"/>
                  <a:pt x="73" y="457"/>
                  <a:pt x="73" y="442"/>
                </a:cubicBezTo>
                <a:cubicBezTo>
                  <a:pt x="44" y="413"/>
                  <a:pt x="44" y="413"/>
                  <a:pt x="44" y="413"/>
                </a:cubicBezTo>
                <a:cubicBezTo>
                  <a:pt x="44" y="398"/>
                  <a:pt x="44" y="383"/>
                  <a:pt x="58" y="383"/>
                </a:cubicBezTo>
                <a:cubicBezTo>
                  <a:pt x="103" y="354"/>
                  <a:pt x="103" y="354"/>
                  <a:pt x="103" y="354"/>
                </a:cubicBezTo>
                <a:cubicBezTo>
                  <a:pt x="103" y="339"/>
                  <a:pt x="103" y="309"/>
                  <a:pt x="103" y="295"/>
                </a:cubicBezTo>
                <a:cubicBezTo>
                  <a:pt x="103" y="265"/>
                  <a:pt x="103" y="251"/>
                  <a:pt x="103" y="221"/>
                </a:cubicBezTo>
                <a:cubicBezTo>
                  <a:pt x="58" y="192"/>
                  <a:pt x="58" y="192"/>
                  <a:pt x="58" y="192"/>
                </a:cubicBezTo>
                <a:cubicBezTo>
                  <a:pt x="44" y="192"/>
                  <a:pt x="44" y="177"/>
                  <a:pt x="44" y="163"/>
                </a:cubicBezTo>
                <a:cubicBezTo>
                  <a:pt x="73" y="133"/>
                  <a:pt x="73" y="133"/>
                  <a:pt x="73" y="133"/>
                </a:cubicBezTo>
                <a:cubicBezTo>
                  <a:pt x="73" y="133"/>
                  <a:pt x="88" y="118"/>
                  <a:pt x="88" y="133"/>
                </a:cubicBezTo>
                <a:cubicBezTo>
                  <a:pt x="147" y="163"/>
                  <a:pt x="147" y="163"/>
                  <a:pt x="147" y="163"/>
                </a:cubicBezTo>
                <a:cubicBezTo>
                  <a:pt x="176" y="133"/>
                  <a:pt x="206" y="104"/>
                  <a:pt x="250" y="104"/>
                </a:cubicBezTo>
                <a:cubicBezTo>
                  <a:pt x="250" y="59"/>
                  <a:pt x="250" y="59"/>
                  <a:pt x="250" y="59"/>
                </a:cubicBezTo>
                <a:cubicBezTo>
                  <a:pt x="250" y="45"/>
                  <a:pt x="265" y="30"/>
                  <a:pt x="279" y="30"/>
                </a:cubicBezTo>
                <a:cubicBezTo>
                  <a:pt x="309" y="30"/>
                  <a:pt x="309" y="30"/>
                  <a:pt x="309" y="30"/>
                </a:cubicBezTo>
                <a:cubicBezTo>
                  <a:pt x="324" y="30"/>
                  <a:pt x="338" y="45"/>
                  <a:pt x="338" y="59"/>
                </a:cubicBezTo>
                <a:cubicBezTo>
                  <a:pt x="338" y="104"/>
                  <a:pt x="338" y="104"/>
                  <a:pt x="338" y="104"/>
                </a:cubicBezTo>
                <a:cubicBezTo>
                  <a:pt x="382" y="104"/>
                  <a:pt x="412" y="133"/>
                  <a:pt x="441" y="163"/>
                </a:cubicBezTo>
                <a:cubicBezTo>
                  <a:pt x="500" y="133"/>
                  <a:pt x="500" y="133"/>
                  <a:pt x="500" y="133"/>
                </a:cubicBezTo>
                <a:cubicBezTo>
                  <a:pt x="500" y="118"/>
                  <a:pt x="515" y="133"/>
                  <a:pt x="515" y="133"/>
                </a:cubicBezTo>
                <a:cubicBezTo>
                  <a:pt x="544" y="163"/>
                  <a:pt x="544" y="163"/>
                  <a:pt x="544" y="163"/>
                </a:cubicBezTo>
                <a:cubicBezTo>
                  <a:pt x="544" y="177"/>
                  <a:pt x="544" y="192"/>
                  <a:pt x="529" y="192"/>
                </a:cubicBezTo>
                <a:cubicBezTo>
                  <a:pt x="485" y="221"/>
                  <a:pt x="485" y="221"/>
                  <a:pt x="485" y="221"/>
                </a:cubicBezTo>
                <a:cubicBezTo>
                  <a:pt x="485" y="251"/>
                  <a:pt x="485" y="265"/>
                  <a:pt x="485" y="295"/>
                </a:cubicBezTo>
                <a:cubicBezTo>
                  <a:pt x="485" y="309"/>
                  <a:pt x="485" y="339"/>
                  <a:pt x="485" y="354"/>
                </a:cubicBezTo>
                <a:cubicBezTo>
                  <a:pt x="529" y="383"/>
                  <a:pt x="529" y="383"/>
                  <a:pt x="529" y="383"/>
                </a:cubicBezTo>
                <a:cubicBezTo>
                  <a:pt x="544" y="383"/>
                  <a:pt x="544" y="398"/>
                  <a:pt x="544" y="41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431" tIns="45716" rIns="91431" bIns="45716" anchor="ctr"/>
          <a:lstStyle/>
          <a:p>
            <a:endParaRPr lang="en-US" dirty="0"/>
          </a:p>
        </p:txBody>
      </p:sp>
      <p:sp>
        <p:nvSpPr>
          <p:cNvPr id="32" name="Freeform 213">
            <a:extLst>
              <a:ext uri="{FF2B5EF4-FFF2-40B4-BE49-F238E27FC236}">
                <a16:creationId xmlns:a16="http://schemas.microsoft.com/office/drawing/2014/main" id="{375D8BF1-03CA-431B-96B7-AC90031DBB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60839" y="1725373"/>
            <a:ext cx="382586" cy="371475"/>
          </a:xfrm>
          <a:custGeom>
            <a:avLst/>
            <a:gdLst>
              <a:gd name="T0" fmla="*/ 212384 w 634"/>
              <a:gd name="T1" fmla="*/ 84625 h 619"/>
              <a:gd name="T2" fmla="*/ 212384 w 634"/>
              <a:gd name="T3" fmla="*/ 84625 h 619"/>
              <a:gd name="T4" fmla="*/ 212384 w 634"/>
              <a:gd name="T5" fmla="*/ 195427 h 619"/>
              <a:gd name="T6" fmla="*/ 196518 w 634"/>
              <a:gd name="T7" fmla="*/ 211205 h 619"/>
              <a:gd name="T8" fmla="*/ 32092 w 634"/>
              <a:gd name="T9" fmla="*/ 211205 h 619"/>
              <a:gd name="T10" fmla="*/ 16226 w 634"/>
              <a:gd name="T11" fmla="*/ 195427 h 619"/>
              <a:gd name="T12" fmla="*/ 16226 w 634"/>
              <a:gd name="T13" fmla="*/ 26535 h 619"/>
              <a:gd name="T14" fmla="*/ 32092 w 634"/>
              <a:gd name="T15" fmla="*/ 10399 h 619"/>
              <a:gd name="T16" fmla="*/ 143512 w 634"/>
              <a:gd name="T17" fmla="*/ 10399 h 619"/>
              <a:gd name="T18" fmla="*/ 143512 w 634"/>
              <a:gd name="T19" fmla="*/ 0 h 619"/>
              <a:gd name="T20" fmla="*/ 32092 w 634"/>
              <a:gd name="T21" fmla="*/ 0 h 619"/>
              <a:gd name="T22" fmla="*/ 0 w 634"/>
              <a:gd name="T23" fmla="*/ 26535 h 619"/>
              <a:gd name="T24" fmla="*/ 0 w 634"/>
              <a:gd name="T25" fmla="*/ 195427 h 619"/>
              <a:gd name="T26" fmla="*/ 32092 w 634"/>
              <a:gd name="T27" fmla="*/ 221603 h 619"/>
              <a:gd name="T28" fmla="*/ 196518 w 634"/>
              <a:gd name="T29" fmla="*/ 221603 h 619"/>
              <a:gd name="T30" fmla="*/ 228249 w 634"/>
              <a:gd name="T31" fmla="*/ 195427 h 619"/>
              <a:gd name="T32" fmla="*/ 228249 w 634"/>
              <a:gd name="T33" fmla="*/ 84625 h 619"/>
              <a:gd name="T34" fmla="*/ 212384 w 634"/>
              <a:gd name="T35" fmla="*/ 84625 h 619"/>
              <a:gd name="T36" fmla="*/ 58415 w 634"/>
              <a:gd name="T37" fmla="*/ 126938 h 619"/>
              <a:gd name="T38" fmla="*/ 58415 w 634"/>
              <a:gd name="T39" fmla="*/ 126938 h 619"/>
              <a:gd name="T40" fmla="*/ 26683 w 634"/>
              <a:gd name="T41" fmla="*/ 185028 h 619"/>
              <a:gd name="T42" fmla="*/ 37140 w 634"/>
              <a:gd name="T43" fmla="*/ 195427 h 619"/>
              <a:gd name="T44" fmla="*/ 100963 w 634"/>
              <a:gd name="T45" fmla="*/ 163872 h 619"/>
              <a:gd name="T46" fmla="*/ 106372 w 634"/>
              <a:gd name="T47" fmla="*/ 163872 h 619"/>
              <a:gd name="T48" fmla="*/ 217792 w 634"/>
              <a:gd name="T49" fmla="*/ 52711 h 619"/>
              <a:gd name="T50" fmla="*/ 217792 w 634"/>
              <a:gd name="T51" fmla="*/ 31555 h 619"/>
              <a:gd name="T52" fmla="*/ 191109 w 634"/>
              <a:gd name="T53" fmla="*/ 10399 h 619"/>
              <a:gd name="T54" fmla="*/ 169835 w 634"/>
              <a:gd name="T55" fmla="*/ 10399 h 619"/>
              <a:gd name="T56" fmla="*/ 63823 w 634"/>
              <a:gd name="T57" fmla="*/ 116180 h 619"/>
              <a:gd name="T58" fmla="*/ 58415 w 634"/>
              <a:gd name="T59" fmla="*/ 126938 h 619"/>
              <a:gd name="T60" fmla="*/ 175244 w 634"/>
              <a:gd name="T61" fmla="*/ 26535 h 619"/>
              <a:gd name="T62" fmla="*/ 175244 w 634"/>
              <a:gd name="T63" fmla="*/ 26535 h 619"/>
              <a:gd name="T64" fmla="*/ 186061 w 634"/>
              <a:gd name="T65" fmla="*/ 26535 h 619"/>
              <a:gd name="T66" fmla="*/ 201927 w 634"/>
              <a:gd name="T67" fmla="*/ 36934 h 619"/>
              <a:gd name="T68" fmla="*/ 201927 w 634"/>
              <a:gd name="T69" fmla="*/ 47691 h 619"/>
              <a:gd name="T70" fmla="*/ 186061 w 634"/>
              <a:gd name="T71" fmla="*/ 63469 h 619"/>
              <a:gd name="T72" fmla="*/ 164787 w 634"/>
              <a:gd name="T73" fmla="*/ 36934 h 619"/>
              <a:gd name="T74" fmla="*/ 175244 w 634"/>
              <a:gd name="T75" fmla="*/ 26535 h 619"/>
              <a:gd name="T76" fmla="*/ 154330 w 634"/>
              <a:gd name="T77" fmla="*/ 47691 h 619"/>
              <a:gd name="T78" fmla="*/ 154330 w 634"/>
              <a:gd name="T79" fmla="*/ 47691 h 619"/>
              <a:gd name="T80" fmla="*/ 175244 w 634"/>
              <a:gd name="T81" fmla="*/ 73868 h 619"/>
              <a:gd name="T82" fmla="*/ 95915 w 634"/>
              <a:gd name="T83" fmla="*/ 153114 h 619"/>
              <a:gd name="T84" fmla="*/ 74641 w 634"/>
              <a:gd name="T85" fmla="*/ 126938 h 619"/>
              <a:gd name="T86" fmla="*/ 154330 w 634"/>
              <a:gd name="T87" fmla="*/ 47691 h 619"/>
              <a:gd name="T88" fmla="*/ 85098 w 634"/>
              <a:gd name="T89" fmla="*/ 158493 h 619"/>
              <a:gd name="T90" fmla="*/ 85098 w 634"/>
              <a:gd name="T91" fmla="*/ 158493 h 619"/>
              <a:gd name="T92" fmla="*/ 47958 w 634"/>
              <a:gd name="T93" fmla="*/ 185028 h 619"/>
              <a:gd name="T94" fmla="*/ 42549 w 634"/>
              <a:gd name="T95" fmla="*/ 179649 h 619"/>
              <a:gd name="T96" fmla="*/ 63823 w 634"/>
              <a:gd name="T97" fmla="*/ 142715 h 619"/>
              <a:gd name="T98" fmla="*/ 85098 w 634"/>
              <a:gd name="T99" fmla="*/ 158493 h 61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634" h="619">
                <a:moveTo>
                  <a:pt x="589" y="236"/>
                </a:moveTo>
                <a:lnTo>
                  <a:pt x="589" y="236"/>
                </a:lnTo>
                <a:cubicBezTo>
                  <a:pt x="589" y="545"/>
                  <a:pt x="589" y="545"/>
                  <a:pt x="589" y="545"/>
                </a:cubicBezTo>
                <a:cubicBezTo>
                  <a:pt x="589" y="559"/>
                  <a:pt x="575" y="589"/>
                  <a:pt x="545" y="589"/>
                </a:cubicBezTo>
                <a:cubicBezTo>
                  <a:pt x="89" y="589"/>
                  <a:pt x="89" y="589"/>
                  <a:pt x="89" y="589"/>
                </a:cubicBezTo>
                <a:cubicBezTo>
                  <a:pt x="59" y="589"/>
                  <a:pt x="45" y="559"/>
                  <a:pt x="45" y="545"/>
                </a:cubicBezTo>
                <a:cubicBezTo>
                  <a:pt x="45" y="74"/>
                  <a:pt x="45" y="74"/>
                  <a:pt x="45" y="74"/>
                </a:cubicBezTo>
                <a:cubicBezTo>
                  <a:pt x="45" y="59"/>
                  <a:pt x="59" y="29"/>
                  <a:pt x="89" y="29"/>
                </a:cubicBezTo>
                <a:cubicBezTo>
                  <a:pt x="398" y="29"/>
                  <a:pt x="398" y="29"/>
                  <a:pt x="398" y="29"/>
                </a:cubicBezTo>
                <a:cubicBezTo>
                  <a:pt x="398" y="0"/>
                  <a:pt x="398" y="0"/>
                  <a:pt x="398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45" y="0"/>
                  <a:pt x="0" y="29"/>
                  <a:pt x="0" y="74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589"/>
                  <a:pt x="45" y="618"/>
                  <a:pt x="89" y="618"/>
                </a:cubicBezTo>
                <a:cubicBezTo>
                  <a:pt x="545" y="618"/>
                  <a:pt x="545" y="618"/>
                  <a:pt x="545" y="618"/>
                </a:cubicBezTo>
                <a:cubicBezTo>
                  <a:pt x="589" y="618"/>
                  <a:pt x="633" y="589"/>
                  <a:pt x="633" y="545"/>
                </a:cubicBezTo>
                <a:cubicBezTo>
                  <a:pt x="633" y="236"/>
                  <a:pt x="633" y="236"/>
                  <a:pt x="633" y="236"/>
                </a:cubicBezTo>
                <a:lnTo>
                  <a:pt x="589" y="236"/>
                </a:lnTo>
                <a:close/>
                <a:moveTo>
                  <a:pt x="162" y="354"/>
                </a:moveTo>
                <a:lnTo>
                  <a:pt x="162" y="354"/>
                </a:lnTo>
                <a:cubicBezTo>
                  <a:pt x="74" y="516"/>
                  <a:pt x="74" y="516"/>
                  <a:pt x="74" y="516"/>
                </a:cubicBezTo>
                <a:cubicBezTo>
                  <a:pt x="74" y="545"/>
                  <a:pt x="89" y="559"/>
                  <a:pt x="103" y="545"/>
                </a:cubicBezTo>
                <a:cubicBezTo>
                  <a:pt x="280" y="457"/>
                  <a:pt x="280" y="457"/>
                  <a:pt x="280" y="457"/>
                </a:cubicBezTo>
                <a:lnTo>
                  <a:pt x="295" y="457"/>
                </a:lnTo>
                <a:cubicBezTo>
                  <a:pt x="604" y="147"/>
                  <a:pt x="604" y="147"/>
                  <a:pt x="604" y="147"/>
                </a:cubicBezTo>
                <a:cubicBezTo>
                  <a:pt x="619" y="133"/>
                  <a:pt x="619" y="103"/>
                  <a:pt x="604" y="88"/>
                </a:cubicBezTo>
                <a:cubicBezTo>
                  <a:pt x="530" y="29"/>
                  <a:pt x="530" y="29"/>
                  <a:pt x="530" y="29"/>
                </a:cubicBezTo>
                <a:cubicBezTo>
                  <a:pt x="516" y="15"/>
                  <a:pt x="486" y="15"/>
                  <a:pt x="471" y="29"/>
                </a:cubicBezTo>
                <a:cubicBezTo>
                  <a:pt x="177" y="324"/>
                  <a:pt x="177" y="324"/>
                  <a:pt x="177" y="324"/>
                </a:cubicBezTo>
                <a:cubicBezTo>
                  <a:pt x="162" y="339"/>
                  <a:pt x="162" y="339"/>
                  <a:pt x="162" y="354"/>
                </a:cubicBezTo>
                <a:close/>
                <a:moveTo>
                  <a:pt x="486" y="74"/>
                </a:moveTo>
                <a:lnTo>
                  <a:pt x="486" y="74"/>
                </a:lnTo>
                <a:cubicBezTo>
                  <a:pt x="501" y="59"/>
                  <a:pt x="516" y="59"/>
                  <a:pt x="516" y="74"/>
                </a:cubicBezTo>
                <a:cubicBezTo>
                  <a:pt x="560" y="103"/>
                  <a:pt x="560" y="103"/>
                  <a:pt x="560" y="103"/>
                </a:cubicBezTo>
                <a:cubicBezTo>
                  <a:pt x="575" y="118"/>
                  <a:pt x="575" y="133"/>
                  <a:pt x="560" y="133"/>
                </a:cubicBezTo>
                <a:cubicBezTo>
                  <a:pt x="516" y="177"/>
                  <a:pt x="516" y="177"/>
                  <a:pt x="516" y="177"/>
                </a:cubicBezTo>
                <a:cubicBezTo>
                  <a:pt x="457" y="103"/>
                  <a:pt x="457" y="103"/>
                  <a:pt x="457" y="103"/>
                </a:cubicBezTo>
                <a:lnTo>
                  <a:pt x="486" y="74"/>
                </a:lnTo>
                <a:close/>
                <a:moveTo>
                  <a:pt x="428" y="133"/>
                </a:moveTo>
                <a:lnTo>
                  <a:pt x="428" y="133"/>
                </a:lnTo>
                <a:cubicBezTo>
                  <a:pt x="486" y="206"/>
                  <a:pt x="486" y="206"/>
                  <a:pt x="486" y="206"/>
                </a:cubicBezTo>
                <a:cubicBezTo>
                  <a:pt x="266" y="427"/>
                  <a:pt x="266" y="427"/>
                  <a:pt x="266" y="427"/>
                </a:cubicBezTo>
                <a:cubicBezTo>
                  <a:pt x="251" y="398"/>
                  <a:pt x="207" y="368"/>
                  <a:pt x="207" y="354"/>
                </a:cubicBezTo>
                <a:lnTo>
                  <a:pt x="428" y="133"/>
                </a:lnTo>
                <a:close/>
                <a:moveTo>
                  <a:pt x="236" y="442"/>
                </a:moveTo>
                <a:lnTo>
                  <a:pt x="236" y="442"/>
                </a:lnTo>
                <a:cubicBezTo>
                  <a:pt x="133" y="516"/>
                  <a:pt x="133" y="516"/>
                  <a:pt x="133" y="516"/>
                </a:cubicBezTo>
                <a:cubicBezTo>
                  <a:pt x="118" y="516"/>
                  <a:pt x="118" y="501"/>
                  <a:pt x="118" y="501"/>
                </a:cubicBezTo>
                <a:cubicBezTo>
                  <a:pt x="177" y="398"/>
                  <a:pt x="177" y="398"/>
                  <a:pt x="177" y="398"/>
                </a:cubicBezTo>
                <a:lnTo>
                  <a:pt x="236" y="44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91431" tIns="45716" rIns="91431" bIns="45716" anchor="ctr"/>
          <a:lstStyle/>
          <a:p>
            <a:endParaRPr lang="en-US" dirty="0"/>
          </a:p>
        </p:txBody>
      </p:sp>
      <p:grpSp>
        <p:nvGrpSpPr>
          <p:cNvPr id="36" name="Group 180">
            <a:extLst>
              <a:ext uri="{FF2B5EF4-FFF2-40B4-BE49-F238E27FC236}">
                <a16:creationId xmlns:a16="http://schemas.microsoft.com/office/drawing/2014/main" id="{919FE729-BA45-4B17-908B-E7CF1C10340A}"/>
              </a:ext>
            </a:extLst>
          </p:cNvPr>
          <p:cNvGrpSpPr/>
          <p:nvPr/>
        </p:nvGrpSpPr>
        <p:grpSpPr>
          <a:xfrm>
            <a:off x="4124771" y="4784749"/>
            <a:ext cx="401466" cy="376706"/>
            <a:chOff x="6373813" y="2717801"/>
            <a:chExt cx="360363" cy="338138"/>
          </a:xfrm>
          <a:solidFill>
            <a:srgbClr val="FFFFFF"/>
          </a:solidFill>
        </p:grpSpPr>
        <p:sp>
          <p:nvSpPr>
            <p:cNvPr id="37" name="Freeform 132">
              <a:extLst>
                <a:ext uri="{FF2B5EF4-FFF2-40B4-BE49-F238E27FC236}">
                  <a16:creationId xmlns:a16="http://schemas.microsoft.com/office/drawing/2014/main" id="{4B3A26BE-0F6A-4E3E-8A41-9FEAA0ED2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3813" y="2717801"/>
              <a:ext cx="360363" cy="338138"/>
            </a:xfrm>
            <a:custGeom>
              <a:avLst/>
              <a:gdLst/>
              <a:ahLst/>
              <a:cxnLst>
                <a:cxn ang="0">
                  <a:pos x="121" y="25"/>
                </a:cxn>
                <a:cxn ang="0">
                  <a:pos x="98" y="2"/>
                </a:cxn>
                <a:cxn ang="0">
                  <a:pos x="92" y="0"/>
                </a:cxn>
                <a:cxn ang="0">
                  <a:pos x="12" y="0"/>
                </a:cxn>
                <a:cxn ang="0">
                  <a:pos x="0" y="11"/>
                </a:cxn>
                <a:cxn ang="0">
                  <a:pos x="0" y="104"/>
                </a:cxn>
                <a:cxn ang="0">
                  <a:pos x="12" y="115"/>
                </a:cxn>
                <a:cxn ang="0">
                  <a:pos x="111" y="115"/>
                </a:cxn>
                <a:cxn ang="0">
                  <a:pos x="123" y="104"/>
                </a:cxn>
                <a:cxn ang="0">
                  <a:pos x="123" y="31"/>
                </a:cxn>
                <a:cxn ang="0">
                  <a:pos x="121" y="25"/>
                </a:cxn>
                <a:cxn ang="0">
                  <a:pos x="115" y="104"/>
                </a:cxn>
                <a:cxn ang="0">
                  <a:pos x="111" y="107"/>
                </a:cxn>
                <a:cxn ang="0">
                  <a:pos x="12" y="107"/>
                </a:cxn>
                <a:cxn ang="0">
                  <a:pos x="8" y="104"/>
                </a:cxn>
                <a:cxn ang="0">
                  <a:pos x="8" y="11"/>
                </a:cxn>
                <a:cxn ang="0">
                  <a:pos x="12" y="8"/>
                </a:cxn>
                <a:cxn ang="0">
                  <a:pos x="88" y="8"/>
                </a:cxn>
                <a:cxn ang="0">
                  <a:pos x="88" y="23"/>
                </a:cxn>
                <a:cxn ang="0">
                  <a:pos x="100" y="35"/>
                </a:cxn>
                <a:cxn ang="0">
                  <a:pos x="115" y="35"/>
                </a:cxn>
                <a:cxn ang="0">
                  <a:pos x="115" y="104"/>
                </a:cxn>
                <a:cxn ang="0">
                  <a:pos x="104" y="31"/>
                </a:cxn>
                <a:cxn ang="0">
                  <a:pos x="100" y="31"/>
                </a:cxn>
                <a:cxn ang="0">
                  <a:pos x="92" y="23"/>
                </a:cxn>
                <a:cxn ang="0">
                  <a:pos x="92" y="8"/>
                </a:cxn>
                <a:cxn ang="0">
                  <a:pos x="115" y="31"/>
                </a:cxn>
                <a:cxn ang="0">
                  <a:pos x="104" y="31"/>
                </a:cxn>
                <a:cxn ang="0">
                  <a:pos x="104" y="31"/>
                </a:cxn>
                <a:cxn ang="0">
                  <a:pos x="104" y="31"/>
                </a:cxn>
              </a:cxnLst>
              <a:rect l="0" t="0" r="r" b="b"/>
              <a:pathLst>
                <a:path w="123" h="115">
                  <a:moveTo>
                    <a:pt x="121" y="25"/>
                  </a:moveTo>
                  <a:cubicBezTo>
                    <a:pt x="98" y="2"/>
                    <a:pt x="98" y="2"/>
                    <a:pt x="98" y="2"/>
                  </a:cubicBezTo>
                  <a:cubicBezTo>
                    <a:pt x="96" y="1"/>
                    <a:pt x="94" y="0"/>
                    <a:pt x="9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10"/>
                    <a:pt x="5" y="115"/>
                    <a:pt x="12" y="115"/>
                  </a:cubicBezTo>
                  <a:cubicBezTo>
                    <a:pt x="111" y="115"/>
                    <a:pt x="111" y="115"/>
                    <a:pt x="111" y="115"/>
                  </a:cubicBezTo>
                  <a:cubicBezTo>
                    <a:pt x="118" y="115"/>
                    <a:pt x="123" y="110"/>
                    <a:pt x="123" y="104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29"/>
                    <a:pt x="122" y="27"/>
                    <a:pt x="121" y="25"/>
                  </a:cubicBezTo>
                  <a:close/>
                  <a:moveTo>
                    <a:pt x="115" y="104"/>
                  </a:moveTo>
                  <a:cubicBezTo>
                    <a:pt x="115" y="106"/>
                    <a:pt x="113" y="107"/>
                    <a:pt x="111" y="107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9" y="107"/>
                    <a:pt x="8" y="106"/>
                    <a:pt x="8" y="104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8"/>
                    <a:pt x="12" y="8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9"/>
                    <a:pt x="93" y="35"/>
                    <a:pt x="100" y="35"/>
                  </a:cubicBezTo>
                  <a:cubicBezTo>
                    <a:pt x="115" y="35"/>
                    <a:pt x="115" y="35"/>
                    <a:pt x="115" y="35"/>
                  </a:cubicBezTo>
                  <a:lnTo>
                    <a:pt x="115" y="104"/>
                  </a:lnTo>
                  <a:close/>
                  <a:moveTo>
                    <a:pt x="104" y="31"/>
                  </a:moveTo>
                  <a:cubicBezTo>
                    <a:pt x="100" y="31"/>
                    <a:pt x="100" y="31"/>
                    <a:pt x="100" y="31"/>
                  </a:cubicBezTo>
                  <a:cubicBezTo>
                    <a:pt x="96" y="31"/>
                    <a:pt x="92" y="27"/>
                    <a:pt x="92" y="23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115" y="31"/>
                    <a:pt x="115" y="31"/>
                    <a:pt x="115" y="31"/>
                  </a:cubicBezTo>
                  <a:lnTo>
                    <a:pt x="104" y="31"/>
                  </a:lnTo>
                  <a:close/>
                  <a:moveTo>
                    <a:pt x="104" y="31"/>
                  </a:moveTo>
                  <a:cubicBezTo>
                    <a:pt x="104" y="31"/>
                    <a:pt x="104" y="31"/>
                    <a:pt x="104" y="3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8" name="Freeform 133">
              <a:extLst>
                <a:ext uri="{FF2B5EF4-FFF2-40B4-BE49-F238E27FC236}">
                  <a16:creationId xmlns:a16="http://schemas.microsoft.com/office/drawing/2014/main" id="{BFF679D6-C14B-4CAE-96B5-BA74D814D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3675" y="2786063"/>
              <a:ext cx="66675" cy="11113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21" y="4"/>
                </a:cxn>
                <a:cxn ang="0">
                  <a:pos x="23" y="2"/>
                </a:cxn>
                <a:cxn ang="0">
                  <a:pos x="2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4"/>
                </a:cxn>
              </a:cxnLst>
              <a:rect l="0" t="0" r="r" b="b"/>
              <a:pathLst>
                <a:path w="23" h="4">
                  <a:moveTo>
                    <a:pt x="1" y="4"/>
                  </a:moveTo>
                  <a:cubicBezTo>
                    <a:pt x="21" y="4"/>
                    <a:pt x="21" y="4"/>
                    <a:pt x="21" y="4"/>
                  </a:cubicBezTo>
                  <a:cubicBezTo>
                    <a:pt x="22" y="4"/>
                    <a:pt x="23" y="3"/>
                    <a:pt x="23" y="2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lose/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9" name="Freeform 134">
              <a:extLst>
                <a:ext uri="{FF2B5EF4-FFF2-40B4-BE49-F238E27FC236}">
                  <a16:creationId xmlns:a16="http://schemas.microsoft.com/office/drawing/2014/main" id="{32177529-1819-4CF1-888D-032067E0BE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3675" y="2820988"/>
              <a:ext cx="66675" cy="9525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21" y="3"/>
                </a:cxn>
                <a:cxn ang="0">
                  <a:pos x="23" y="1"/>
                </a:cxn>
                <a:cxn ang="0">
                  <a:pos x="21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</a:cxnLst>
              <a:rect l="0" t="0" r="r" b="b"/>
              <a:pathLst>
                <a:path w="23" h="3">
                  <a:moveTo>
                    <a:pt x="1" y="3"/>
                  </a:move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3" y="2"/>
                    <a:pt x="23" y="1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2"/>
                    <a:pt x="0" y="3"/>
                    <a:pt x="1" y="3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0" name="Freeform 135">
              <a:extLst>
                <a:ext uri="{FF2B5EF4-FFF2-40B4-BE49-F238E27FC236}">
                  <a16:creationId xmlns:a16="http://schemas.microsoft.com/office/drawing/2014/main" id="{54BDB20B-400D-49CF-A950-639681012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3675" y="2852738"/>
              <a:ext cx="142875" cy="1270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4"/>
                </a:cxn>
                <a:cxn ang="0">
                  <a:pos x="48" y="4"/>
                </a:cxn>
                <a:cxn ang="0">
                  <a:pos x="49" y="2"/>
                </a:cxn>
                <a:cxn ang="0">
                  <a:pos x="48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</a:cxnLst>
              <a:rect l="0" t="0" r="r" b="b"/>
              <a:pathLst>
                <a:path w="49" h="4">
                  <a:moveTo>
                    <a:pt x="0" y="2"/>
                  </a:moveTo>
                  <a:cubicBezTo>
                    <a:pt x="0" y="3"/>
                    <a:pt x="0" y="4"/>
                    <a:pt x="1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9" y="4"/>
                    <a:pt x="49" y="3"/>
                    <a:pt x="49" y="2"/>
                  </a:cubicBezTo>
                  <a:cubicBezTo>
                    <a:pt x="49" y="1"/>
                    <a:pt x="49" y="0"/>
                    <a:pt x="48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lose/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1" name="Freeform 136">
              <a:extLst>
                <a:ext uri="{FF2B5EF4-FFF2-40B4-BE49-F238E27FC236}">
                  <a16:creationId xmlns:a16="http://schemas.microsoft.com/office/drawing/2014/main" id="{E34AA30D-04ED-44B3-9F0B-7F5047BC11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263" y="2921001"/>
              <a:ext cx="268288" cy="11113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91" y="4"/>
                </a:cxn>
                <a:cxn ang="0">
                  <a:pos x="92" y="2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91" y="0"/>
                </a:cxn>
              </a:cxnLst>
              <a:rect l="0" t="0" r="r" b="b"/>
              <a:pathLst>
                <a:path w="92" h="4">
                  <a:moveTo>
                    <a:pt x="9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2" y="4"/>
                    <a:pt x="92" y="3"/>
                    <a:pt x="92" y="2"/>
                  </a:cubicBezTo>
                  <a:cubicBezTo>
                    <a:pt x="92" y="1"/>
                    <a:pt x="92" y="0"/>
                    <a:pt x="91" y="0"/>
                  </a:cubicBezTo>
                  <a:close/>
                  <a:moveTo>
                    <a:pt x="91" y="0"/>
                  </a:moveTo>
                  <a:cubicBezTo>
                    <a:pt x="91" y="0"/>
                    <a:pt x="91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2" name="Freeform 137">
              <a:extLst>
                <a:ext uri="{FF2B5EF4-FFF2-40B4-BE49-F238E27FC236}">
                  <a16:creationId xmlns:a16="http://schemas.microsoft.com/office/drawing/2014/main" id="{056764D9-5539-4CC0-8041-3F67EF6B45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263" y="2955926"/>
              <a:ext cx="268288" cy="9525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91" y="3"/>
                </a:cxn>
                <a:cxn ang="0">
                  <a:pos x="92" y="1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91" y="0"/>
                </a:cxn>
              </a:cxnLst>
              <a:rect l="0" t="0" r="r" b="b"/>
              <a:pathLst>
                <a:path w="92" h="3">
                  <a:moveTo>
                    <a:pt x="9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2" y="3"/>
                    <a:pt x="92" y="3"/>
                    <a:pt x="92" y="1"/>
                  </a:cubicBezTo>
                  <a:cubicBezTo>
                    <a:pt x="92" y="0"/>
                    <a:pt x="92" y="0"/>
                    <a:pt x="91" y="0"/>
                  </a:cubicBezTo>
                  <a:close/>
                  <a:moveTo>
                    <a:pt x="91" y="0"/>
                  </a:moveTo>
                  <a:cubicBezTo>
                    <a:pt x="91" y="0"/>
                    <a:pt x="91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3" name="Freeform 138">
              <a:extLst>
                <a:ext uri="{FF2B5EF4-FFF2-40B4-BE49-F238E27FC236}">
                  <a16:creationId xmlns:a16="http://schemas.microsoft.com/office/drawing/2014/main" id="{5A0B73B4-39E9-47FD-8BDB-A5D6BEFFBB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263" y="2987676"/>
              <a:ext cx="268288" cy="12700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91" y="4"/>
                </a:cxn>
                <a:cxn ang="0">
                  <a:pos x="92" y="2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91" y="0"/>
                </a:cxn>
              </a:cxnLst>
              <a:rect l="0" t="0" r="r" b="b"/>
              <a:pathLst>
                <a:path w="92" h="4">
                  <a:moveTo>
                    <a:pt x="9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2" y="4"/>
                    <a:pt x="92" y="3"/>
                    <a:pt x="92" y="2"/>
                  </a:cubicBezTo>
                  <a:cubicBezTo>
                    <a:pt x="92" y="1"/>
                    <a:pt x="92" y="0"/>
                    <a:pt x="91" y="0"/>
                  </a:cubicBezTo>
                  <a:close/>
                  <a:moveTo>
                    <a:pt x="91" y="0"/>
                  </a:moveTo>
                  <a:cubicBezTo>
                    <a:pt x="91" y="0"/>
                    <a:pt x="91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4" name="Freeform 139">
              <a:extLst>
                <a:ext uri="{FF2B5EF4-FFF2-40B4-BE49-F238E27FC236}">
                  <a16:creationId xmlns:a16="http://schemas.microsoft.com/office/drawing/2014/main" id="{D5C22C9A-7C4F-48C1-B9F4-000F6072E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263" y="2889251"/>
              <a:ext cx="268288" cy="7938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2" y="3"/>
                </a:cxn>
                <a:cxn ang="0">
                  <a:pos x="91" y="3"/>
                </a:cxn>
                <a:cxn ang="0">
                  <a:pos x="92" y="1"/>
                </a:cxn>
                <a:cxn ang="0">
                  <a:pos x="91" y="0"/>
                </a:cxn>
                <a:cxn ang="0">
                  <a:pos x="91" y="0"/>
                </a:cxn>
                <a:cxn ang="0">
                  <a:pos x="91" y="0"/>
                </a:cxn>
              </a:cxnLst>
              <a:rect l="0" t="0" r="r" b="b"/>
              <a:pathLst>
                <a:path w="92" h="3">
                  <a:moveTo>
                    <a:pt x="9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2" y="3"/>
                    <a:pt x="92" y="3"/>
                    <a:pt x="92" y="1"/>
                  </a:cubicBezTo>
                  <a:cubicBezTo>
                    <a:pt x="92" y="0"/>
                    <a:pt x="92" y="0"/>
                    <a:pt x="91" y="0"/>
                  </a:cubicBezTo>
                  <a:close/>
                  <a:moveTo>
                    <a:pt x="91" y="0"/>
                  </a:moveTo>
                  <a:cubicBezTo>
                    <a:pt x="91" y="0"/>
                    <a:pt x="91" y="0"/>
                    <a:pt x="91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45" name="Freeform 140">
              <a:extLst>
                <a:ext uri="{FF2B5EF4-FFF2-40B4-BE49-F238E27FC236}">
                  <a16:creationId xmlns:a16="http://schemas.microsoft.com/office/drawing/2014/main" id="{79F0EF3D-DB91-4545-A40F-EDEC1C3291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263" y="2774951"/>
              <a:ext cx="101600" cy="90488"/>
            </a:xfrm>
            <a:custGeom>
              <a:avLst/>
              <a:gdLst/>
              <a:ahLst/>
              <a:cxnLst>
                <a:cxn ang="0">
                  <a:pos x="4" y="31"/>
                </a:cxn>
                <a:cxn ang="0">
                  <a:pos x="31" y="31"/>
                </a:cxn>
                <a:cxn ang="0">
                  <a:pos x="35" y="27"/>
                </a:cxn>
                <a:cxn ang="0">
                  <a:pos x="35" y="4"/>
                </a:cxn>
                <a:cxn ang="0">
                  <a:pos x="31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27"/>
                </a:cxn>
                <a:cxn ang="0">
                  <a:pos x="4" y="31"/>
                </a:cxn>
                <a:cxn ang="0">
                  <a:pos x="8" y="8"/>
                </a:cxn>
                <a:cxn ang="0">
                  <a:pos x="27" y="8"/>
                </a:cxn>
                <a:cxn ang="0">
                  <a:pos x="27" y="23"/>
                </a:cxn>
                <a:cxn ang="0">
                  <a:pos x="8" y="23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</a:cxnLst>
              <a:rect l="0" t="0" r="r" b="b"/>
              <a:pathLst>
                <a:path w="35" h="31">
                  <a:moveTo>
                    <a:pt x="4" y="31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3" y="31"/>
                    <a:pt x="35" y="29"/>
                    <a:pt x="35" y="27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2"/>
                    <a:pt x="33" y="0"/>
                    <a:pt x="3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9"/>
                    <a:pt x="2" y="31"/>
                    <a:pt x="4" y="31"/>
                  </a:cubicBezTo>
                  <a:close/>
                  <a:moveTo>
                    <a:pt x="8" y="8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8" y="23"/>
                    <a:pt x="8" y="23"/>
                    <a:pt x="8" y="23"/>
                  </a:cubicBezTo>
                  <a:lnTo>
                    <a:pt x="8" y="8"/>
                  </a:lnTo>
                  <a:close/>
                  <a:moveTo>
                    <a:pt x="8" y="8"/>
                  </a:moveTo>
                  <a:cubicBezTo>
                    <a:pt x="8" y="8"/>
                    <a:pt x="8" y="8"/>
                    <a:pt x="8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</p:grpSp>
      <p:pic>
        <p:nvPicPr>
          <p:cNvPr id="21" name="Ábra 20" descr="Tű">
            <a:extLst>
              <a:ext uri="{FF2B5EF4-FFF2-40B4-BE49-F238E27FC236}">
                <a16:creationId xmlns:a16="http://schemas.microsoft.com/office/drawing/2014/main" id="{1DBC406D-68C4-442E-A421-82DDE1B6F23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3886" y="3647227"/>
            <a:ext cx="476477" cy="476477"/>
          </a:xfrm>
          <a:prstGeom prst="rect">
            <a:avLst/>
          </a:prstGeom>
        </p:spPr>
      </p:pic>
      <p:sp>
        <p:nvSpPr>
          <p:cNvPr id="46" name="Freeform 175">
            <a:extLst>
              <a:ext uri="{FF2B5EF4-FFF2-40B4-BE49-F238E27FC236}">
                <a16:creationId xmlns:a16="http://schemas.microsoft.com/office/drawing/2014/main" id="{5F1685F0-580A-40F6-846F-1BFC4EB81D23}"/>
              </a:ext>
            </a:extLst>
          </p:cNvPr>
          <p:cNvSpPr>
            <a:spLocks noEditPoints="1"/>
          </p:cNvSpPr>
          <p:nvPr/>
        </p:nvSpPr>
        <p:spPr bwMode="auto">
          <a:xfrm>
            <a:off x="1182402" y="2742447"/>
            <a:ext cx="330428" cy="352214"/>
          </a:xfrm>
          <a:custGeom>
            <a:avLst/>
            <a:gdLst>
              <a:gd name="T0" fmla="*/ 37635 w 58"/>
              <a:gd name="T1" fmla="*/ 196576 h 58"/>
              <a:gd name="T2" fmla="*/ 27371 w 58"/>
              <a:gd name="T3" fmla="*/ 200025 h 58"/>
              <a:gd name="T4" fmla="*/ 17107 w 58"/>
              <a:gd name="T5" fmla="*/ 196576 h 58"/>
              <a:gd name="T6" fmla="*/ 3421 w 58"/>
              <a:gd name="T7" fmla="*/ 182781 h 58"/>
              <a:gd name="T8" fmla="*/ 0 w 58"/>
              <a:gd name="T9" fmla="*/ 172435 h 58"/>
              <a:gd name="T10" fmla="*/ 3421 w 58"/>
              <a:gd name="T11" fmla="*/ 162089 h 58"/>
              <a:gd name="T12" fmla="*/ 85533 w 58"/>
              <a:gd name="T13" fmla="*/ 75872 h 58"/>
              <a:gd name="T14" fmla="*/ 119746 w 58"/>
              <a:gd name="T15" fmla="*/ 113807 h 58"/>
              <a:gd name="T16" fmla="*/ 37635 w 58"/>
              <a:gd name="T17" fmla="*/ 196576 h 58"/>
              <a:gd name="T18" fmla="*/ 34213 w 58"/>
              <a:gd name="T19" fmla="*/ 155192 h 58"/>
              <a:gd name="T20" fmla="*/ 27371 w 58"/>
              <a:gd name="T21" fmla="*/ 165538 h 58"/>
              <a:gd name="T22" fmla="*/ 34213 w 58"/>
              <a:gd name="T23" fmla="*/ 172435 h 58"/>
              <a:gd name="T24" fmla="*/ 41056 w 58"/>
              <a:gd name="T25" fmla="*/ 165538 h 58"/>
              <a:gd name="T26" fmla="*/ 34213 w 58"/>
              <a:gd name="T27" fmla="*/ 155192 h 58"/>
              <a:gd name="T28" fmla="*/ 195016 w 58"/>
              <a:gd name="T29" fmla="*/ 72423 h 58"/>
              <a:gd name="T30" fmla="*/ 143696 w 58"/>
              <a:gd name="T31" fmla="*/ 110359 h 58"/>
              <a:gd name="T32" fmla="*/ 88955 w 58"/>
              <a:gd name="T33" fmla="*/ 55179 h 58"/>
              <a:gd name="T34" fmla="*/ 143696 w 58"/>
              <a:gd name="T35" fmla="*/ 0 h 58"/>
              <a:gd name="T36" fmla="*/ 171066 w 58"/>
              <a:gd name="T37" fmla="*/ 6897 h 58"/>
              <a:gd name="T38" fmla="*/ 174488 w 58"/>
              <a:gd name="T39" fmla="*/ 10346 h 58"/>
              <a:gd name="T40" fmla="*/ 171066 w 58"/>
              <a:gd name="T41" fmla="*/ 13795 h 58"/>
              <a:gd name="T42" fmla="*/ 136853 w 58"/>
              <a:gd name="T43" fmla="*/ 34487 h 58"/>
              <a:gd name="T44" fmla="*/ 136853 w 58"/>
              <a:gd name="T45" fmla="*/ 62077 h 58"/>
              <a:gd name="T46" fmla="*/ 160802 w 58"/>
              <a:gd name="T47" fmla="*/ 75872 h 58"/>
              <a:gd name="T48" fmla="*/ 195016 w 58"/>
              <a:gd name="T49" fmla="*/ 55179 h 58"/>
              <a:gd name="T50" fmla="*/ 198437 w 58"/>
              <a:gd name="T51" fmla="*/ 58628 h 58"/>
              <a:gd name="T52" fmla="*/ 195016 w 58"/>
              <a:gd name="T53" fmla="*/ 72423 h 5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58" h="58">
                <a:moveTo>
                  <a:pt x="11" y="57"/>
                </a:moveTo>
                <a:cubicBezTo>
                  <a:pt x="10" y="58"/>
                  <a:pt x="9" y="58"/>
                  <a:pt x="8" y="58"/>
                </a:cubicBezTo>
                <a:cubicBezTo>
                  <a:pt x="7" y="58"/>
                  <a:pt x="6" y="58"/>
                  <a:pt x="5" y="57"/>
                </a:cubicBezTo>
                <a:cubicBezTo>
                  <a:pt x="1" y="53"/>
                  <a:pt x="1" y="53"/>
                  <a:pt x="1" y="53"/>
                </a:cubicBezTo>
                <a:cubicBezTo>
                  <a:pt x="0" y="52"/>
                  <a:pt x="0" y="51"/>
                  <a:pt x="0" y="50"/>
                </a:cubicBezTo>
                <a:cubicBezTo>
                  <a:pt x="0" y="49"/>
                  <a:pt x="0" y="47"/>
                  <a:pt x="1" y="47"/>
                </a:cubicBezTo>
                <a:cubicBezTo>
                  <a:pt x="25" y="22"/>
                  <a:pt x="25" y="22"/>
                  <a:pt x="25" y="22"/>
                </a:cubicBezTo>
                <a:cubicBezTo>
                  <a:pt x="27" y="27"/>
                  <a:pt x="31" y="31"/>
                  <a:pt x="35" y="33"/>
                </a:cubicBezTo>
                <a:lnTo>
                  <a:pt x="11" y="57"/>
                </a:lnTo>
                <a:close/>
                <a:moveTo>
                  <a:pt x="10" y="45"/>
                </a:moveTo>
                <a:cubicBezTo>
                  <a:pt x="9" y="45"/>
                  <a:pt x="8" y="46"/>
                  <a:pt x="8" y="48"/>
                </a:cubicBezTo>
                <a:cubicBezTo>
                  <a:pt x="8" y="49"/>
                  <a:pt x="9" y="50"/>
                  <a:pt x="10" y="50"/>
                </a:cubicBezTo>
                <a:cubicBezTo>
                  <a:pt x="11" y="50"/>
                  <a:pt x="12" y="49"/>
                  <a:pt x="12" y="48"/>
                </a:cubicBezTo>
                <a:cubicBezTo>
                  <a:pt x="12" y="46"/>
                  <a:pt x="11" y="45"/>
                  <a:pt x="10" y="45"/>
                </a:cubicBezTo>
                <a:close/>
                <a:moveTo>
                  <a:pt x="57" y="21"/>
                </a:moveTo>
                <a:cubicBezTo>
                  <a:pt x="55" y="27"/>
                  <a:pt x="49" y="32"/>
                  <a:pt x="42" y="32"/>
                </a:cubicBezTo>
                <a:cubicBezTo>
                  <a:pt x="33" y="32"/>
                  <a:pt x="26" y="24"/>
                  <a:pt x="26" y="16"/>
                </a:cubicBezTo>
                <a:cubicBezTo>
                  <a:pt x="26" y="7"/>
                  <a:pt x="33" y="0"/>
                  <a:pt x="42" y="0"/>
                </a:cubicBezTo>
                <a:cubicBezTo>
                  <a:pt x="45" y="0"/>
                  <a:pt x="48" y="0"/>
                  <a:pt x="50" y="2"/>
                </a:cubicBezTo>
                <a:cubicBezTo>
                  <a:pt x="51" y="2"/>
                  <a:pt x="51" y="2"/>
                  <a:pt x="51" y="3"/>
                </a:cubicBezTo>
                <a:cubicBezTo>
                  <a:pt x="51" y="3"/>
                  <a:pt x="51" y="4"/>
                  <a:pt x="50" y="4"/>
                </a:cubicBezTo>
                <a:cubicBezTo>
                  <a:pt x="40" y="10"/>
                  <a:pt x="40" y="10"/>
                  <a:pt x="40" y="10"/>
                </a:cubicBezTo>
                <a:cubicBezTo>
                  <a:pt x="40" y="18"/>
                  <a:pt x="40" y="18"/>
                  <a:pt x="40" y="18"/>
                </a:cubicBezTo>
                <a:cubicBezTo>
                  <a:pt x="47" y="22"/>
                  <a:pt x="47" y="22"/>
                  <a:pt x="47" y="22"/>
                </a:cubicBezTo>
                <a:cubicBezTo>
                  <a:pt x="48" y="21"/>
                  <a:pt x="56" y="16"/>
                  <a:pt x="57" y="16"/>
                </a:cubicBezTo>
                <a:cubicBezTo>
                  <a:pt x="58" y="16"/>
                  <a:pt x="58" y="16"/>
                  <a:pt x="58" y="17"/>
                </a:cubicBezTo>
                <a:cubicBezTo>
                  <a:pt x="58" y="18"/>
                  <a:pt x="58" y="20"/>
                  <a:pt x="57" y="2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18403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5C5A362-F81B-4212-B515-6E758BBDB6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olyamat kell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id="{B4FC831F-1325-4837-8CE1-78B09C37A6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hu-HU" smtClean="0"/>
              <a:pPr fontAlgn="base">
                <a:spcAft>
                  <a:spcPct val="0"/>
                </a:spcAft>
              </a:pPr>
              <a:t>9</a:t>
            </a:fld>
            <a:endParaRPr lang="hu-HU"/>
          </a:p>
        </p:txBody>
      </p:sp>
      <p:grpSp>
        <p:nvGrpSpPr>
          <p:cNvPr id="113" name="Csoportba foglalás 112">
            <a:extLst>
              <a:ext uri="{FF2B5EF4-FFF2-40B4-BE49-F238E27FC236}">
                <a16:creationId xmlns:a16="http://schemas.microsoft.com/office/drawing/2014/main" id="{33F0ACC1-5264-46C9-A917-1AA3541CB6D1}"/>
              </a:ext>
            </a:extLst>
          </p:cNvPr>
          <p:cNvGrpSpPr/>
          <p:nvPr/>
        </p:nvGrpSpPr>
        <p:grpSpPr>
          <a:xfrm>
            <a:off x="1250924" y="1830589"/>
            <a:ext cx="8725968" cy="3194029"/>
            <a:chOff x="1419199" y="1892718"/>
            <a:chExt cx="8725968" cy="3194029"/>
          </a:xfrm>
        </p:grpSpPr>
        <p:sp>
          <p:nvSpPr>
            <p:cNvPr id="52" name="Oval 21">
              <a:extLst>
                <a:ext uri="{FF2B5EF4-FFF2-40B4-BE49-F238E27FC236}">
                  <a16:creationId xmlns:a16="http://schemas.microsoft.com/office/drawing/2014/main" id="{7B759E60-22CB-4F7A-BA90-4B3B2D5BB197}"/>
                </a:ext>
              </a:extLst>
            </p:cNvPr>
            <p:cNvSpPr/>
            <p:nvPr/>
          </p:nvSpPr>
          <p:spPr>
            <a:xfrm>
              <a:off x="6553962" y="2287116"/>
              <a:ext cx="730743" cy="730933"/>
            </a:xfrm>
            <a:prstGeom prst="ellipse">
              <a:avLst/>
            </a:prstGeom>
            <a:solidFill>
              <a:srgbClr val="C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43192" tIns="21595" rIns="43192" bIns="21595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54" name="Freeform 1">
              <a:extLst>
                <a:ext uri="{FF2B5EF4-FFF2-40B4-BE49-F238E27FC236}">
                  <a16:creationId xmlns:a16="http://schemas.microsoft.com/office/drawing/2014/main" id="{5CFB5E8D-12E8-468C-BB9A-5884B49D15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8731018" y="1779041"/>
              <a:ext cx="1300472" cy="1527826"/>
            </a:xfrm>
            <a:custGeom>
              <a:avLst/>
              <a:gdLst>
                <a:gd name="T0" fmla="*/ 1782 w 2658"/>
                <a:gd name="T1" fmla="*/ 0 h 2470"/>
                <a:gd name="T2" fmla="*/ 1782 w 2658"/>
                <a:gd name="T3" fmla="*/ 0 h 2470"/>
                <a:gd name="T4" fmla="*/ 1782 w 2658"/>
                <a:gd name="T5" fmla="*/ 438 h 2470"/>
                <a:gd name="T6" fmla="*/ 1469 w 2658"/>
                <a:gd name="T7" fmla="*/ 438 h 2470"/>
                <a:gd name="T8" fmla="*/ 375 w 2658"/>
                <a:gd name="T9" fmla="*/ 1219 h 2470"/>
                <a:gd name="T10" fmla="*/ 1469 w 2658"/>
                <a:gd name="T11" fmla="*/ 2032 h 2470"/>
                <a:gd name="T12" fmla="*/ 2188 w 2658"/>
                <a:gd name="T13" fmla="*/ 2032 h 2470"/>
                <a:gd name="T14" fmla="*/ 2188 w 2658"/>
                <a:gd name="T15" fmla="*/ 2469 h 2470"/>
                <a:gd name="T16" fmla="*/ 2657 w 2658"/>
                <a:gd name="T17" fmla="*/ 2469 h 2470"/>
                <a:gd name="T18" fmla="*/ 1500 w 2658"/>
                <a:gd name="T19" fmla="*/ 2469 h 2470"/>
                <a:gd name="T20" fmla="*/ 0 w 2658"/>
                <a:gd name="T21" fmla="*/ 1219 h 2470"/>
                <a:gd name="T22" fmla="*/ 1469 w 2658"/>
                <a:gd name="T23" fmla="*/ 0 h 2470"/>
                <a:gd name="T24" fmla="*/ 1782 w 2658"/>
                <a:gd name="T25" fmla="*/ 0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58" h="2470">
                  <a:moveTo>
                    <a:pt x="1782" y="0"/>
                  </a:moveTo>
                  <a:lnTo>
                    <a:pt x="1782" y="0"/>
                  </a:lnTo>
                  <a:cubicBezTo>
                    <a:pt x="1782" y="438"/>
                    <a:pt x="1782" y="438"/>
                    <a:pt x="1782" y="438"/>
                  </a:cubicBezTo>
                  <a:cubicBezTo>
                    <a:pt x="1469" y="438"/>
                    <a:pt x="1469" y="438"/>
                    <a:pt x="1469" y="438"/>
                  </a:cubicBezTo>
                  <a:cubicBezTo>
                    <a:pt x="688" y="438"/>
                    <a:pt x="375" y="781"/>
                    <a:pt x="375" y="1219"/>
                  </a:cubicBezTo>
                  <a:cubicBezTo>
                    <a:pt x="375" y="1719"/>
                    <a:pt x="719" y="2032"/>
                    <a:pt x="1469" y="2032"/>
                  </a:cubicBezTo>
                  <a:cubicBezTo>
                    <a:pt x="2188" y="2032"/>
                    <a:pt x="2188" y="2032"/>
                    <a:pt x="2188" y="2032"/>
                  </a:cubicBezTo>
                  <a:cubicBezTo>
                    <a:pt x="2188" y="2469"/>
                    <a:pt x="2188" y="2469"/>
                    <a:pt x="2188" y="2469"/>
                  </a:cubicBezTo>
                  <a:cubicBezTo>
                    <a:pt x="2657" y="2469"/>
                    <a:pt x="2657" y="2469"/>
                    <a:pt x="2657" y="2469"/>
                  </a:cubicBezTo>
                  <a:cubicBezTo>
                    <a:pt x="1500" y="2469"/>
                    <a:pt x="1500" y="2469"/>
                    <a:pt x="1500" y="2469"/>
                  </a:cubicBezTo>
                  <a:cubicBezTo>
                    <a:pt x="438" y="2469"/>
                    <a:pt x="0" y="1938"/>
                    <a:pt x="0" y="1219"/>
                  </a:cubicBezTo>
                  <a:cubicBezTo>
                    <a:pt x="0" y="532"/>
                    <a:pt x="407" y="0"/>
                    <a:pt x="1469" y="0"/>
                  </a:cubicBezTo>
                  <a:lnTo>
                    <a:pt x="1782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55" name="Freeform 2">
              <a:extLst>
                <a:ext uri="{FF2B5EF4-FFF2-40B4-BE49-F238E27FC236}">
                  <a16:creationId xmlns:a16="http://schemas.microsoft.com/office/drawing/2014/main" id="{FE4A79BA-C520-4D19-BDD5-1F6A0F4D5C2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600949" y="2745073"/>
              <a:ext cx="1069709" cy="1508728"/>
            </a:xfrm>
            <a:custGeom>
              <a:avLst/>
              <a:gdLst>
                <a:gd name="T0" fmla="*/ 750 w 2187"/>
                <a:gd name="T1" fmla="*/ 0 h 2438"/>
                <a:gd name="T2" fmla="*/ 750 w 2187"/>
                <a:gd name="T3" fmla="*/ 0 h 2438"/>
                <a:gd name="T4" fmla="*/ 2186 w 2187"/>
                <a:gd name="T5" fmla="*/ 1187 h 2438"/>
                <a:gd name="T6" fmla="*/ 719 w 2187"/>
                <a:gd name="T7" fmla="*/ 2437 h 2438"/>
                <a:gd name="T8" fmla="*/ 0 w 2187"/>
                <a:gd name="T9" fmla="*/ 2437 h 2438"/>
                <a:gd name="T10" fmla="*/ 469 w 2187"/>
                <a:gd name="T11" fmla="*/ 2437 h 2438"/>
                <a:gd name="T12" fmla="*/ 469 w 2187"/>
                <a:gd name="T13" fmla="*/ 2031 h 2438"/>
                <a:gd name="T14" fmla="*/ 750 w 2187"/>
                <a:gd name="T15" fmla="*/ 2031 h 2438"/>
                <a:gd name="T16" fmla="*/ 1843 w 2187"/>
                <a:gd name="T17" fmla="*/ 1218 h 2438"/>
                <a:gd name="T18" fmla="*/ 750 w 2187"/>
                <a:gd name="T19" fmla="*/ 437 h 2438"/>
                <a:gd name="T20" fmla="*/ 469 w 2187"/>
                <a:gd name="T21" fmla="*/ 437 h 2438"/>
                <a:gd name="T22" fmla="*/ 0 w 2187"/>
                <a:gd name="T23" fmla="*/ 437 h 2438"/>
                <a:gd name="T24" fmla="*/ 0 w 2187"/>
                <a:gd name="T25" fmla="*/ 0 h 2438"/>
                <a:gd name="T26" fmla="*/ 750 w 2187"/>
                <a:gd name="T27" fmla="*/ 0 h 2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87" h="2438">
                  <a:moveTo>
                    <a:pt x="750" y="0"/>
                  </a:moveTo>
                  <a:lnTo>
                    <a:pt x="750" y="0"/>
                  </a:lnTo>
                  <a:cubicBezTo>
                    <a:pt x="1780" y="0"/>
                    <a:pt x="2186" y="500"/>
                    <a:pt x="2186" y="1187"/>
                  </a:cubicBezTo>
                  <a:cubicBezTo>
                    <a:pt x="2186" y="1906"/>
                    <a:pt x="1749" y="2437"/>
                    <a:pt x="719" y="2437"/>
                  </a:cubicBezTo>
                  <a:cubicBezTo>
                    <a:pt x="0" y="2437"/>
                    <a:pt x="0" y="2437"/>
                    <a:pt x="0" y="2437"/>
                  </a:cubicBezTo>
                  <a:cubicBezTo>
                    <a:pt x="469" y="2437"/>
                    <a:pt x="469" y="2437"/>
                    <a:pt x="469" y="2437"/>
                  </a:cubicBezTo>
                  <a:cubicBezTo>
                    <a:pt x="469" y="2031"/>
                    <a:pt x="469" y="2031"/>
                    <a:pt x="469" y="2031"/>
                  </a:cubicBezTo>
                  <a:cubicBezTo>
                    <a:pt x="750" y="2031"/>
                    <a:pt x="750" y="2031"/>
                    <a:pt x="750" y="2031"/>
                  </a:cubicBezTo>
                  <a:cubicBezTo>
                    <a:pt x="1499" y="2031"/>
                    <a:pt x="1843" y="1687"/>
                    <a:pt x="1843" y="1218"/>
                  </a:cubicBezTo>
                  <a:cubicBezTo>
                    <a:pt x="1843" y="750"/>
                    <a:pt x="1499" y="437"/>
                    <a:pt x="750" y="437"/>
                  </a:cubicBezTo>
                  <a:cubicBezTo>
                    <a:pt x="469" y="437"/>
                    <a:pt x="469" y="437"/>
                    <a:pt x="469" y="437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50" y="0"/>
                  </a:lnTo>
                </a:path>
              </a:pathLst>
            </a:custGeom>
            <a:solidFill>
              <a:srgbClr val="0020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56" name="Freeform 3">
              <a:extLst>
                <a:ext uri="{FF2B5EF4-FFF2-40B4-BE49-F238E27FC236}">
                  <a16:creationId xmlns:a16="http://schemas.microsoft.com/office/drawing/2014/main" id="{8D6EBCAF-9890-481A-A6F0-6D31889E32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014329" y="2002102"/>
              <a:ext cx="1727492" cy="1508727"/>
            </a:xfrm>
            <a:custGeom>
              <a:avLst/>
              <a:gdLst>
                <a:gd name="T0" fmla="*/ 2657 w 3532"/>
                <a:gd name="T1" fmla="*/ 0 h 2437"/>
                <a:gd name="T2" fmla="*/ 2657 w 3532"/>
                <a:gd name="T3" fmla="*/ 0 h 2437"/>
                <a:gd name="T4" fmla="*/ 2657 w 3532"/>
                <a:gd name="T5" fmla="*/ 406 h 2437"/>
                <a:gd name="T6" fmla="*/ 2188 w 3532"/>
                <a:gd name="T7" fmla="*/ 406 h 2437"/>
                <a:gd name="T8" fmla="*/ 1469 w 3532"/>
                <a:gd name="T9" fmla="*/ 406 h 2437"/>
                <a:gd name="T10" fmla="*/ 375 w 3532"/>
                <a:gd name="T11" fmla="*/ 1187 h 2437"/>
                <a:gd name="T12" fmla="*/ 1469 w 3532"/>
                <a:gd name="T13" fmla="*/ 2000 h 2437"/>
                <a:gd name="T14" fmla="*/ 1750 w 3532"/>
                <a:gd name="T15" fmla="*/ 2000 h 2437"/>
                <a:gd name="T16" fmla="*/ 1750 w 3532"/>
                <a:gd name="T17" fmla="*/ 2436 h 2437"/>
                <a:gd name="T18" fmla="*/ 3531 w 3532"/>
                <a:gd name="T19" fmla="*/ 2436 h 2437"/>
                <a:gd name="T20" fmla="*/ 1500 w 3532"/>
                <a:gd name="T21" fmla="*/ 2436 h 2437"/>
                <a:gd name="T22" fmla="*/ 0 w 3532"/>
                <a:gd name="T23" fmla="*/ 1187 h 2437"/>
                <a:gd name="T24" fmla="*/ 1469 w 3532"/>
                <a:gd name="T25" fmla="*/ 0 h 2437"/>
                <a:gd name="T26" fmla="*/ 2657 w 3532"/>
                <a:gd name="T27" fmla="*/ 0 h 2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32" h="2437">
                  <a:moveTo>
                    <a:pt x="2657" y="0"/>
                  </a:moveTo>
                  <a:lnTo>
                    <a:pt x="2657" y="0"/>
                  </a:lnTo>
                  <a:cubicBezTo>
                    <a:pt x="2657" y="406"/>
                    <a:pt x="2657" y="406"/>
                    <a:pt x="2657" y="406"/>
                  </a:cubicBezTo>
                  <a:cubicBezTo>
                    <a:pt x="2188" y="406"/>
                    <a:pt x="2188" y="406"/>
                    <a:pt x="2188" y="406"/>
                  </a:cubicBezTo>
                  <a:cubicBezTo>
                    <a:pt x="1469" y="406"/>
                    <a:pt x="1469" y="406"/>
                    <a:pt x="1469" y="406"/>
                  </a:cubicBezTo>
                  <a:cubicBezTo>
                    <a:pt x="688" y="406"/>
                    <a:pt x="375" y="750"/>
                    <a:pt x="375" y="1187"/>
                  </a:cubicBezTo>
                  <a:cubicBezTo>
                    <a:pt x="375" y="1687"/>
                    <a:pt x="719" y="2000"/>
                    <a:pt x="1469" y="2000"/>
                  </a:cubicBezTo>
                  <a:cubicBezTo>
                    <a:pt x="1750" y="2000"/>
                    <a:pt x="1750" y="2000"/>
                    <a:pt x="1750" y="2000"/>
                  </a:cubicBezTo>
                  <a:cubicBezTo>
                    <a:pt x="1750" y="2436"/>
                    <a:pt x="1750" y="2436"/>
                    <a:pt x="1750" y="2436"/>
                  </a:cubicBezTo>
                  <a:cubicBezTo>
                    <a:pt x="3531" y="2436"/>
                    <a:pt x="3531" y="2436"/>
                    <a:pt x="3531" y="2436"/>
                  </a:cubicBezTo>
                  <a:cubicBezTo>
                    <a:pt x="1500" y="2436"/>
                    <a:pt x="1500" y="2436"/>
                    <a:pt x="1500" y="2436"/>
                  </a:cubicBezTo>
                  <a:cubicBezTo>
                    <a:pt x="438" y="2436"/>
                    <a:pt x="0" y="1906"/>
                    <a:pt x="0" y="1187"/>
                  </a:cubicBezTo>
                  <a:cubicBezTo>
                    <a:pt x="0" y="500"/>
                    <a:pt x="407" y="0"/>
                    <a:pt x="1469" y="0"/>
                  </a:cubicBezTo>
                  <a:lnTo>
                    <a:pt x="2657" y="0"/>
                  </a:lnTo>
                </a:path>
              </a:pathLst>
            </a:custGeom>
            <a:solidFill>
              <a:srgbClr val="C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57" name="Freeform 4">
              <a:extLst>
                <a:ext uri="{FF2B5EF4-FFF2-40B4-BE49-F238E27FC236}">
                  <a16:creationId xmlns:a16="http://schemas.microsoft.com/office/drawing/2014/main" id="{BB3AA1C5-55D6-4371-90DB-0D71C70CE49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773698" y="2841202"/>
              <a:ext cx="1712396" cy="1527826"/>
            </a:xfrm>
            <a:custGeom>
              <a:avLst/>
              <a:gdLst>
                <a:gd name="T0" fmla="*/ 2062 w 3500"/>
                <a:gd name="T1" fmla="*/ 0 h 2469"/>
                <a:gd name="T2" fmla="*/ 2062 w 3500"/>
                <a:gd name="T3" fmla="*/ 0 h 2469"/>
                <a:gd name="T4" fmla="*/ 3499 w 3500"/>
                <a:gd name="T5" fmla="*/ 1186 h 2469"/>
                <a:gd name="T6" fmla="*/ 2031 w 3500"/>
                <a:gd name="T7" fmla="*/ 2468 h 2469"/>
                <a:gd name="T8" fmla="*/ 0 w 3500"/>
                <a:gd name="T9" fmla="*/ 2468 h 2469"/>
                <a:gd name="T10" fmla="*/ 1781 w 3500"/>
                <a:gd name="T11" fmla="*/ 2468 h 2469"/>
                <a:gd name="T12" fmla="*/ 1781 w 3500"/>
                <a:gd name="T13" fmla="*/ 2030 h 2469"/>
                <a:gd name="T14" fmla="*/ 2062 w 3500"/>
                <a:gd name="T15" fmla="*/ 2030 h 2469"/>
                <a:gd name="T16" fmla="*/ 3156 w 3500"/>
                <a:gd name="T17" fmla="*/ 1218 h 2469"/>
                <a:gd name="T18" fmla="*/ 2062 w 3500"/>
                <a:gd name="T19" fmla="*/ 436 h 2469"/>
                <a:gd name="T20" fmla="*/ 1781 w 3500"/>
                <a:gd name="T21" fmla="*/ 436 h 2469"/>
                <a:gd name="T22" fmla="*/ 0 w 3500"/>
                <a:gd name="T23" fmla="*/ 436 h 2469"/>
                <a:gd name="T24" fmla="*/ 0 w 3500"/>
                <a:gd name="T25" fmla="*/ 0 h 2469"/>
                <a:gd name="T26" fmla="*/ 2062 w 3500"/>
                <a:gd name="T27" fmla="*/ 0 h 2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00" h="2469">
                  <a:moveTo>
                    <a:pt x="2062" y="0"/>
                  </a:moveTo>
                  <a:lnTo>
                    <a:pt x="2062" y="0"/>
                  </a:lnTo>
                  <a:cubicBezTo>
                    <a:pt x="3093" y="0"/>
                    <a:pt x="3499" y="530"/>
                    <a:pt x="3499" y="1186"/>
                  </a:cubicBezTo>
                  <a:cubicBezTo>
                    <a:pt x="3499" y="1905"/>
                    <a:pt x="3062" y="2468"/>
                    <a:pt x="2031" y="2468"/>
                  </a:cubicBezTo>
                  <a:cubicBezTo>
                    <a:pt x="0" y="2468"/>
                    <a:pt x="0" y="2468"/>
                    <a:pt x="0" y="2468"/>
                  </a:cubicBezTo>
                  <a:cubicBezTo>
                    <a:pt x="1781" y="2468"/>
                    <a:pt x="1781" y="2468"/>
                    <a:pt x="1781" y="2468"/>
                  </a:cubicBezTo>
                  <a:cubicBezTo>
                    <a:pt x="1781" y="2030"/>
                    <a:pt x="1781" y="2030"/>
                    <a:pt x="1781" y="2030"/>
                  </a:cubicBezTo>
                  <a:cubicBezTo>
                    <a:pt x="2062" y="2030"/>
                    <a:pt x="2062" y="2030"/>
                    <a:pt x="2062" y="2030"/>
                  </a:cubicBezTo>
                  <a:cubicBezTo>
                    <a:pt x="2812" y="2030"/>
                    <a:pt x="3156" y="1718"/>
                    <a:pt x="3156" y="1218"/>
                  </a:cubicBezTo>
                  <a:cubicBezTo>
                    <a:pt x="3156" y="780"/>
                    <a:pt x="2812" y="436"/>
                    <a:pt x="2062" y="436"/>
                  </a:cubicBezTo>
                  <a:cubicBezTo>
                    <a:pt x="1781" y="436"/>
                    <a:pt x="1781" y="436"/>
                    <a:pt x="1781" y="436"/>
                  </a:cubicBezTo>
                  <a:cubicBezTo>
                    <a:pt x="0" y="436"/>
                    <a:pt x="0" y="436"/>
                    <a:pt x="0" y="436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62" y="0"/>
                  </a:lnTo>
                </a:path>
              </a:pathLst>
            </a:custGeom>
            <a:solidFill>
              <a:srgbClr val="F29B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58" name="Freeform 5">
              <a:extLst>
                <a:ext uri="{FF2B5EF4-FFF2-40B4-BE49-F238E27FC236}">
                  <a16:creationId xmlns:a16="http://schemas.microsoft.com/office/drawing/2014/main" id="{38E061E3-B047-4716-8C16-F0E7C78F25B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215532" y="2307272"/>
              <a:ext cx="2337831" cy="1508727"/>
            </a:xfrm>
            <a:custGeom>
              <a:avLst/>
              <a:gdLst>
                <a:gd name="T0" fmla="*/ 1750 w 4782"/>
                <a:gd name="T1" fmla="*/ 2438 h 2439"/>
                <a:gd name="T2" fmla="*/ 1750 w 4782"/>
                <a:gd name="T3" fmla="*/ 2438 h 2439"/>
                <a:gd name="T4" fmla="*/ 1750 w 4782"/>
                <a:gd name="T5" fmla="*/ 2000 h 2439"/>
                <a:gd name="T6" fmla="*/ 1469 w 4782"/>
                <a:gd name="T7" fmla="*/ 2000 h 2439"/>
                <a:gd name="T8" fmla="*/ 375 w 4782"/>
                <a:gd name="T9" fmla="*/ 1188 h 2439"/>
                <a:gd name="T10" fmla="*/ 1469 w 4782"/>
                <a:gd name="T11" fmla="*/ 438 h 2439"/>
                <a:gd name="T12" fmla="*/ 1750 w 4782"/>
                <a:gd name="T13" fmla="*/ 438 h 2439"/>
                <a:gd name="T14" fmla="*/ 3531 w 4782"/>
                <a:gd name="T15" fmla="*/ 438 h 2439"/>
                <a:gd name="T16" fmla="*/ 3531 w 4782"/>
                <a:gd name="T17" fmla="*/ 0 h 2439"/>
                <a:gd name="T18" fmla="*/ 1469 w 4782"/>
                <a:gd name="T19" fmla="*/ 0 h 2439"/>
                <a:gd name="T20" fmla="*/ 0 w 4782"/>
                <a:gd name="T21" fmla="*/ 1188 h 2439"/>
                <a:gd name="T22" fmla="*/ 1500 w 4782"/>
                <a:gd name="T23" fmla="*/ 2438 h 2439"/>
                <a:gd name="T24" fmla="*/ 4781 w 4782"/>
                <a:gd name="T25" fmla="*/ 2438 h 2439"/>
                <a:gd name="T26" fmla="*/ 1750 w 4782"/>
                <a:gd name="T27" fmla="*/ 2438 h 2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82" h="2439">
                  <a:moveTo>
                    <a:pt x="1750" y="2438"/>
                  </a:moveTo>
                  <a:lnTo>
                    <a:pt x="1750" y="2438"/>
                  </a:lnTo>
                  <a:cubicBezTo>
                    <a:pt x="1750" y="2000"/>
                    <a:pt x="1750" y="2000"/>
                    <a:pt x="1750" y="2000"/>
                  </a:cubicBezTo>
                  <a:cubicBezTo>
                    <a:pt x="1469" y="2000"/>
                    <a:pt x="1469" y="2000"/>
                    <a:pt x="1469" y="2000"/>
                  </a:cubicBezTo>
                  <a:cubicBezTo>
                    <a:pt x="719" y="2000"/>
                    <a:pt x="375" y="1688"/>
                    <a:pt x="375" y="1188"/>
                  </a:cubicBezTo>
                  <a:cubicBezTo>
                    <a:pt x="375" y="750"/>
                    <a:pt x="688" y="438"/>
                    <a:pt x="1469" y="438"/>
                  </a:cubicBezTo>
                  <a:cubicBezTo>
                    <a:pt x="1750" y="438"/>
                    <a:pt x="1750" y="438"/>
                    <a:pt x="1750" y="438"/>
                  </a:cubicBezTo>
                  <a:cubicBezTo>
                    <a:pt x="3531" y="438"/>
                    <a:pt x="3531" y="438"/>
                    <a:pt x="3531" y="438"/>
                  </a:cubicBezTo>
                  <a:cubicBezTo>
                    <a:pt x="3531" y="0"/>
                    <a:pt x="3531" y="0"/>
                    <a:pt x="3531" y="0"/>
                  </a:cubicBezTo>
                  <a:cubicBezTo>
                    <a:pt x="1469" y="0"/>
                    <a:pt x="1469" y="0"/>
                    <a:pt x="1469" y="0"/>
                  </a:cubicBezTo>
                  <a:cubicBezTo>
                    <a:pt x="407" y="0"/>
                    <a:pt x="0" y="500"/>
                    <a:pt x="0" y="1188"/>
                  </a:cubicBezTo>
                  <a:cubicBezTo>
                    <a:pt x="0" y="1906"/>
                    <a:pt x="438" y="2438"/>
                    <a:pt x="1500" y="2438"/>
                  </a:cubicBezTo>
                  <a:cubicBezTo>
                    <a:pt x="4781" y="2438"/>
                    <a:pt x="4781" y="2438"/>
                    <a:pt x="4781" y="2438"/>
                  </a:cubicBezTo>
                  <a:lnTo>
                    <a:pt x="1750" y="2438"/>
                  </a:lnTo>
                </a:path>
              </a:pathLst>
            </a:custGeom>
            <a:solidFill>
              <a:srgbClr val="9BBB5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958B502B-9C55-425D-A3F9-1765B1B9F61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541981" y="2725820"/>
              <a:ext cx="3194029" cy="1527826"/>
            </a:xfrm>
            <a:custGeom>
              <a:avLst/>
              <a:gdLst>
                <a:gd name="T0" fmla="*/ 5062 w 6532"/>
                <a:gd name="T1" fmla="*/ 0 h 2470"/>
                <a:gd name="T2" fmla="*/ 5062 w 6532"/>
                <a:gd name="T3" fmla="*/ 0 h 2470"/>
                <a:gd name="T4" fmla="*/ 6531 w 6532"/>
                <a:gd name="T5" fmla="*/ 1219 h 2470"/>
                <a:gd name="T6" fmla="*/ 5062 w 6532"/>
                <a:gd name="T7" fmla="*/ 2469 h 2470"/>
                <a:gd name="T8" fmla="*/ 0 w 6532"/>
                <a:gd name="T9" fmla="*/ 2469 h 2470"/>
                <a:gd name="T10" fmla="*/ 0 w 6532"/>
                <a:gd name="T11" fmla="*/ 2031 h 2470"/>
                <a:gd name="T12" fmla="*/ 5062 w 6532"/>
                <a:gd name="T13" fmla="*/ 2031 h 2470"/>
                <a:gd name="T14" fmla="*/ 6156 w 6532"/>
                <a:gd name="T15" fmla="*/ 1219 h 2470"/>
                <a:gd name="T16" fmla="*/ 5062 w 6532"/>
                <a:gd name="T17" fmla="*/ 438 h 2470"/>
                <a:gd name="T18" fmla="*/ 4781 w 6532"/>
                <a:gd name="T19" fmla="*/ 438 h 2470"/>
                <a:gd name="T20" fmla="*/ 1750 w 6532"/>
                <a:gd name="T21" fmla="*/ 438 h 2470"/>
                <a:gd name="T22" fmla="*/ 1750 w 6532"/>
                <a:gd name="T23" fmla="*/ 0 h 2470"/>
                <a:gd name="T24" fmla="*/ 5062 w 6532"/>
                <a:gd name="T25" fmla="*/ 0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32" h="2470">
                  <a:moveTo>
                    <a:pt x="5062" y="0"/>
                  </a:moveTo>
                  <a:lnTo>
                    <a:pt x="5062" y="0"/>
                  </a:lnTo>
                  <a:cubicBezTo>
                    <a:pt x="6124" y="0"/>
                    <a:pt x="6531" y="531"/>
                    <a:pt x="6531" y="1219"/>
                  </a:cubicBezTo>
                  <a:cubicBezTo>
                    <a:pt x="6531" y="1937"/>
                    <a:pt x="6093" y="2469"/>
                    <a:pt x="5062" y="2469"/>
                  </a:cubicBezTo>
                  <a:cubicBezTo>
                    <a:pt x="0" y="2469"/>
                    <a:pt x="0" y="2469"/>
                    <a:pt x="0" y="2469"/>
                  </a:cubicBezTo>
                  <a:cubicBezTo>
                    <a:pt x="0" y="2031"/>
                    <a:pt x="0" y="2031"/>
                    <a:pt x="0" y="2031"/>
                  </a:cubicBezTo>
                  <a:cubicBezTo>
                    <a:pt x="5062" y="2031"/>
                    <a:pt x="5062" y="2031"/>
                    <a:pt x="5062" y="2031"/>
                  </a:cubicBezTo>
                  <a:cubicBezTo>
                    <a:pt x="5843" y="2031"/>
                    <a:pt x="6156" y="1719"/>
                    <a:pt x="6156" y="1219"/>
                  </a:cubicBezTo>
                  <a:cubicBezTo>
                    <a:pt x="6156" y="781"/>
                    <a:pt x="5843" y="438"/>
                    <a:pt x="5062" y="438"/>
                  </a:cubicBezTo>
                  <a:cubicBezTo>
                    <a:pt x="4781" y="438"/>
                    <a:pt x="4781" y="438"/>
                    <a:pt x="4781" y="438"/>
                  </a:cubicBezTo>
                  <a:cubicBezTo>
                    <a:pt x="1750" y="438"/>
                    <a:pt x="1750" y="438"/>
                    <a:pt x="1750" y="438"/>
                  </a:cubicBezTo>
                  <a:cubicBezTo>
                    <a:pt x="1750" y="0"/>
                    <a:pt x="1750" y="0"/>
                    <a:pt x="1750" y="0"/>
                  </a:cubicBezTo>
                  <a:lnTo>
                    <a:pt x="5062" y="0"/>
                  </a:lnTo>
                </a:path>
              </a:pathLst>
            </a:custGeom>
            <a:solidFill>
              <a:srgbClr val="1EA18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115177" tIns="57588" rIns="115177" bIns="57588" anchor="ctr"/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sp>
          <p:nvSpPr>
            <p:cNvPr id="60" name="Oval 12">
              <a:extLst>
                <a:ext uri="{FF2B5EF4-FFF2-40B4-BE49-F238E27FC236}">
                  <a16:creationId xmlns:a16="http://schemas.microsoft.com/office/drawing/2014/main" id="{A79584AB-1A4F-4363-8E43-4379EF74B19E}"/>
                </a:ext>
              </a:extLst>
            </p:cNvPr>
            <p:cNvSpPr/>
            <p:nvPr/>
          </p:nvSpPr>
          <p:spPr>
            <a:xfrm>
              <a:off x="2812632" y="3981182"/>
              <a:ext cx="730743" cy="730933"/>
            </a:xfrm>
            <a:prstGeom prst="ellipse">
              <a:avLst/>
            </a:prstGeom>
            <a:solidFill>
              <a:srgbClr val="1EA18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1" name="Oval 15">
              <a:extLst>
                <a:ext uri="{FF2B5EF4-FFF2-40B4-BE49-F238E27FC236}">
                  <a16:creationId xmlns:a16="http://schemas.microsoft.com/office/drawing/2014/main" id="{8FEC9F16-6F91-4E8C-B0F4-FEEBB40D388C}"/>
                </a:ext>
              </a:extLst>
            </p:cNvPr>
            <p:cNvSpPr/>
            <p:nvPr/>
          </p:nvSpPr>
          <p:spPr>
            <a:xfrm>
              <a:off x="4061442" y="2287116"/>
              <a:ext cx="730743" cy="730933"/>
            </a:xfrm>
            <a:prstGeom prst="ellipse">
              <a:avLst/>
            </a:prstGeom>
            <a:solidFill>
              <a:srgbClr val="9BBB5C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2" name="Oval 18">
              <a:extLst>
                <a:ext uri="{FF2B5EF4-FFF2-40B4-BE49-F238E27FC236}">
                  <a16:creationId xmlns:a16="http://schemas.microsoft.com/office/drawing/2014/main" id="{3E32FF7E-6837-4CA1-B950-4DB4338A5C9E}"/>
                </a:ext>
              </a:extLst>
            </p:cNvPr>
            <p:cNvSpPr/>
            <p:nvPr/>
          </p:nvSpPr>
          <p:spPr>
            <a:xfrm>
              <a:off x="5308966" y="3427604"/>
              <a:ext cx="730743" cy="730933"/>
            </a:xfrm>
            <a:prstGeom prst="ellipse">
              <a:avLst/>
            </a:prstGeom>
            <a:solidFill>
              <a:srgbClr val="F29B26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3" name="Oval 24">
              <a:extLst>
                <a:ext uri="{FF2B5EF4-FFF2-40B4-BE49-F238E27FC236}">
                  <a16:creationId xmlns:a16="http://schemas.microsoft.com/office/drawing/2014/main" id="{41B6660F-DAA8-4F8D-AE3C-9CDC9EA2CA19}"/>
                </a:ext>
              </a:extLst>
            </p:cNvPr>
            <p:cNvSpPr/>
            <p:nvPr/>
          </p:nvSpPr>
          <p:spPr>
            <a:xfrm>
              <a:off x="9051585" y="2287116"/>
              <a:ext cx="730743" cy="73093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4" name="Oval 27">
              <a:extLst>
                <a:ext uri="{FF2B5EF4-FFF2-40B4-BE49-F238E27FC236}">
                  <a16:creationId xmlns:a16="http://schemas.microsoft.com/office/drawing/2014/main" id="{5C4633BE-792E-4006-8311-7854713FE754}"/>
                </a:ext>
              </a:extLst>
            </p:cNvPr>
            <p:cNvSpPr/>
            <p:nvPr/>
          </p:nvSpPr>
          <p:spPr>
            <a:xfrm>
              <a:off x="7765942" y="3028197"/>
              <a:ext cx="730743" cy="730933"/>
            </a:xfrm>
            <a:prstGeom prst="ellipse">
              <a:avLst/>
            </a:prstGeom>
            <a:solidFill>
              <a:srgbClr val="00206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5" name="Oval 30">
              <a:extLst>
                <a:ext uri="{FF2B5EF4-FFF2-40B4-BE49-F238E27FC236}">
                  <a16:creationId xmlns:a16="http://schemas.microsoft.com/office/drawing/2014/main" id="{AC23DEBD-1B80-4EF7-A9B0-0C78E1BB20BF}"/>
                </a:ext>
              </a:extLst>
            </p:cNvPr>
            <p:cNvSpPr/>
            <p:nvPr/>
          </p:nvSpPr>
          <p:spPr>
            <a:xfrm>
              <a:off x="1551813" y="1922349"/>
              <a:ext cx="730743" cy="730933"/>
            </a:xfrm>
            <a:prstGeom prst="ellipse">
              <a:avLst/>
            </a:prstGeom>
            <a:solidFill>
              <a:srgbClr val="1EA18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86366" tIns="43182" rIns="86366" bIns="43182" rtlCol="0" anchor="ctr"/>
            <a:lstStyle/>
            <a:p>
              <a:pPr marL="0" marR="0" lvl="0" indent="0" algn="ctr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1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 Light"/>
                <a:ea typeface="+mn-ea"/>
                <a:cs typeface="+mn-cs"/>
              </a:endParaRPr>
            </a:p>
          </p:txBody>
        </p:sp>
        <p:sp>
          <p:nvSpPr>
            <p:cNvPr id="66" name="TextBox 32">
              <a:extLst>
                <a:ext uri="{FF2B5EF4-FFF2-40B4-BE49-F238E27FC236}">
                  <a16:creationId xmlns:a16="http://schemas.microsoft.com/office/drawing/2014/main" id="{505C71A6-20CD-424E-86A0-1FA12C71C9D0}"/>
                </a:ext>
              </a:extLst>
            </p:cNvPr>
            <p:cNvSpPr txBox="1"/>
            <p:nvPr/>
          </p:nvSpPr>
          <p:spPr>
            <a:xfrm>
              <a:off x="1419199" y="2692149"/>
              <a:ext cx="985662" cy="285552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10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jelentés</a:t>
              </a:r>
              <a:endParaRPr lang="en-US" sz="110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TextBox 33">
              <a:extLst>
                <a:ext uri="{FF2B5EF4-FFF2-40B4-BE49-F238E27FC236}">
                  <a16:creationId xmlns:a16="http://schemas.microsoft.com/office/drawing/2014/main" id="{FEDED627-980A-4EB0-83AC-716E84069B21}"/>
                </a:ext>
              </a:extLst>
            </p:cNvPr>
            <p:cNvSpPr txBox="1"/>
            <p:nvPr/>
          </p:nvSpPr>
          <p:spPr>
            <a:xfrm>
              <a:off x="2607381" y="3559645"/>
              <a:ext cx="1097531" cy="439440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yors ellenőrzés</a:t>
              </a:r>
              <a:endParaRPr lang="en-US" sz="105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TextBox 34">
              <a:extLst>
                <a:ext uri="{FF2B5EF4-FFF2-40B4-BE49-F238E27FC236}">
                  <a16:creationId xmlns:a16="http://schemas.microsoft.com/office/drawing/2014/main" id="{C7C43817-E54B-4487-98E6-BD1E75275B78}"/>
                </a:ext>
              </a:extLst>
            </p:cNvPr>
            <p:cNvSpPr txBox="1"/>
            <p:nvPr/>
          </p:nvSpPr>
          <p:spPr>
            <a:xfrm>
              <a:off x="5181650" y="2942565"/>
              <a:ext cx="984902" cy="439440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sztelés, </a:t>
              </a:r>
              <a:r>
                <a:rPr lang="hu-HU" sz="1050" b="1" dirty="0" err="1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alidálás</a:t>
              </a:r>
              <a:endParaRPr lang="en-US" sz="105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TextBox 35">
              <a:extLst>
                <a:ext uri="{FF2B5EF4-FFF2-40B4-BE49-F238E27FC236}">
                  <a16:creationId xmlns:a16="http://schemas.microsoft.com/office/drawing/2014/main" id="{DE4A2D0D-0342-4A39-9F08-7CF22C914758}"/>
                </a:ext>
              </a:extLst>
            </p:cNvPr>
            <p:cNvSpPr txBox="1"/>
            <p:nvPr/>
          </p:nvSpPr>
          <p:spPr>
            <a:xfrm>
              <a:off x="3796300" y="3081494"/>
              <a:ext cx="1161084" cy="601023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kumentálás </a:t>
              </a:r>
              <a:r>
                <a:rPr lang="hu-HU" sz="1050" b="1" dirty="0" err="1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sztelőhöz</a:t>
              </a:r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endelés</a:t>
              </a:r>
              <a:endParaRPr lang="en-US" sz="105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36">
              <a:extLst>
                <a:ext uri="{FF2B5EF4-FFF2-40B4-BE49-F238E27FC236}">
                  <a16:creationId xmlns:a16="http://schemas.microsoft.com/office/drawing/2014/main" id="{F7B47022-F7DE-49EC-B290-3A0D06AB4C8E}"/>
                </a:ext>
              </a:extLst>
            </p:cNvPr>
            <p:cNvSpPr txBox="1"/>
            <p:nvPr/>
          </p:nvSpPr>
          <p:spPr>
            <a:xfrm>
              <a:off x="6288655" y="3078990"/>
              <a:ext cx="1217548" cy="601023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szt-eredmények dokumentálása</a:t>
              </a:r>
              <a:endParaRPr lang="en-US" sz="105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TextBox 37">
              <a:extLst>
                <a:ext uri="{FF2B5EF4-FFF2-40B4-BE49-F238E27FC236}">
                  <a16:creationId xmlns:a16="http://schemas.microsoft.com/office/drawing/2014/main" id="{F67BA378-EB74-455E-A770-616DFACA370A}"/>
                </a:ext>
              </a:extLst>
            </p:cNvPr>
            <p:cNvSpPr txBox="1"/>
            <p:nvPr/>
          </p:nvSpPr>
          <p:spPr>
            <a:xfrm>
              <a:off x="7632439" y="2683377"/>
              <a:ext cx="1071745" cy="277857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05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sszajelzés</a:t>
              </a:r>
              <a:endParaRPr lang="en-US" sz="105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TextBox 38">
              <a:extLst>
                <a:ext uri="{FF2B5EF4-FFF2-40B4-BE49-F238E27FC236}">
                  <a16:creationId xmlns:a16="http://schemas.microsoft.com/office/drawing/2014/main" id="{8AEB96D1-6046-43CA-993B-A1B63DBC34D5}"/>
                </a:ext>
              </a:extLst>
            </p:cNvPr>
            <p:cNvSpPr txBox="1"/>
            <p:nvPr/>
          </p:nvSpPr>
          <p:spPr>
            <a:xfrm>
              <a:off x="8928695" y="3121400"/>
              <a:ext cx="1069988" cy="454829"/>
            </a:xfrm>
            <a:prstGeom prst="rect">
              <a:avLst/>
            </a:prstGeom>
            <a:noFill/>
          </p:spPr>
          <p:txBody>
            <a:bodyPr vert="horz" wrap="square" lIns="115152" tIns="57575" rIns="115152" bIns="57575" rtlCol="0">
              <a:spAutoFit/>
            </a:bodyPr>
            <a:lstStyle/>
            <a:p>
              <a:pPr algn="ctr" defTabSz="863935"/>
              <a:r>
                <a:rPr lang="hu-HU" sz="1100" b="1" dirty="0">
                  <a:solidFill>
                    <a:srgbClr val="44546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ifizetés és javítás</a:t>
              </a:r>
              <a:endParaRPr lang="en-US" sz="1100" b="1" dirty="0">
                <a:solidFill>
                  <a:srgbClr val="44546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AutoShape 29">
              <a:extLst>
                <a:ext uri="{FF2B5EF4-FFF2-40B4-BE49-F238E27FC236}">
                  <a16:creationId xmlns:a16="http://schemas.microsoft.com/office/drawing/2014/main" id="{995DA815-C81B-452C-BD0C-1105629B3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1379" y="2123685"/>
              <a:ext cx="336438" cy="336525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3598" y="2167"/>
                  </a:moveTo>
                  <a:cubicBezTo>
                    <a:pt x="3598" y="2549"/>
                    <a:pt x="3517" y="2902"/>
                    <a:pt x="3358" y="3213"/>
                  </a:cubicBezTo>
                  <a:cubicBezTo>
                    <a:pt x="3197" y="3525"/>
                    <a:pt x="2981" y="3792"/>
                    <a:pt x="2707" y="4006"/>
                  </a:cubicBezTo>
                  <a:lnTo>
                    <a:pt x="2707" y="21050"/>
                  </a:lnTo>
                  <a:cubicBezTo>
                    <a:pt x="2707" y="21203"/>
                    <a:pt x="2663" y="21329"/>
                    <a:pt x="2580" y="21438"/>
                  </a:cubicBezTo>
                  <a:cubicBezTo>
                    <a:pt x="2492" y="21547"/>
                    <a:pt x="2386" y="21599"/>
                    <a:pt x="2262" y="21599"/>
                  </a:cubicBezTo>
                  <a:lnTo>
                    <a:pt x="1348" y="21599"/>
                  </a:lnTo>
                  <a:cubicBezTo>
                    <a:pt x="1221" y="21599"/>
                    <a:pt x="1118" y="21544"/>
                    <a:pt x="1038" y="21438"/>
                  </a:cubicBezTo>
                  <a:cubicBezTo>
                    <a:pt x="954" y="21329"/>
                    <a:pt x="913" y="21203"/>
                    <a:pt x="913" y="21050"/>
                  </a:cubicBezTo>
                  <a:lnTo>
                    <a:pt x="913" y="4006"/>
                  </a:lnTo>
                  <a:cubicBezTo>
                    <a:pt x="641" y="3792"/>
                    <a:pt x="421" y="3525"/>
                    <a:pt x="252" y="3213"/>
                  </a:cubicBezTo>
                  <a:cubicBezTo>
                    <a:pt x="83" y="2902"/>
                    <a:pt x="0" y="2549"/>
                    <a:pt x="0" y="2167"/>
                  </a:cubicBezTo>
                  <a:cubicBezTo>
                    <a:pt x="0" y="1574"/>
                    <a:pt x="176" y="1069"/>
                    <a:pt x="528" y="640"/>
                  </a:cubicBezTo>
                  <a:cubicBezTo>
                    <a:pt x="878" y="211"/>
                    <a:pt x="1304" y="0"/>
                    <a:pt x="1804" y="0"/>
                  </a:cubicBezTo>
                  <a:cubicBezTo>
                    <a:pt x="2296" y="0"/>
                    <a:pt x="2719" y="211"/>
                    <a:pt x="3069" y="640"/>
                  </a:cubicBezTo>
                  <a:cubicBezTo>
                    <a:pt x="3422" y="1069"/>
                    <a:pt x="3598" y="1571"/>
                    <a:pt x="3598" y="2167"/>
                  </a:cubicBezTo>
                  <a:moveTo>
                    <a:pt x="20838" y="2476"/>
                  </a:moveTo>
                  <a:cubicBezTo>
                    <a:pt x="21063" y="2323"/>
                    <a:pt x="21247" y="2297"/>
                    <a:pt x="21389" y="2391"/>
                  </a:cubicBezTo>
                  <a:cubicBezTo>
                    <a:pt x="21529" y="2485"/>
                    <a:pt x="21599" y="2684"/>
                    <a:pt x="21599" y="2996"/>
                  </a:cubicBezTo>
                  <a:lnTo>
                    <a:pt x="21599" y="13515"/>
                  </a:lnTo>
                  <a:cubicBezTo>
                    <a:pt x="21599" y="13803"/>
                    <a:pt x="21526" y="14106"/>
                    <a:pt x="21382" y="14420"/>
                  </a:cubicBezTo>
                  <a:cubicBezTo>
                    <a:pt x="21237" y="14737"/>
                    <a:pt x="21056" y="14966"/>
                    <a:pt x="20838" y="15119"/>
                  </a:cubicBezTo>
                  <a:cubicBezTo>
                    <a:pt x="19954" y="15757"/>
                    <a:pt x="19146" y="16165"/>
                    <a:pt x="18412" y="16350"/>
                  </a:cubicBezTo>
                  <a:cubicBezTo>
                    <a:pt x="17678" y="16529"/>
                    <a:pt x="17036" y="16606"/>
                    <a:pt x="16490" y="16567"/>
                  </a:cubicBezTo>
                  <a:cubicBezTo>
                    <a:pt x="15849" y="16526"/>
                    <a:pt x="15281" y="16371"/>
                    <a:pt x="14791" y="16103"/>
                  </a:cubicBezTo>
                  <a:cubicBezTo>
                    <a:pt x="14392" y="15851"/>
                    <a:pt x="14003" y="15607"/>
                    <a:pt x="13623" y="15378"/>
                  </a:cubicBezTo>
                  <a:cubicBezTo>
                    <a:pt x="13244" y="15146"/>
                    <a:pt x="12857" y="14946"/>
                    <a:pt x="12458" y="14773"/>
                  </a:cubicBezTo>
                  <a:cubicBezTo>
                    <a:pt x="12059" y="14599"/>
                    <a:pt x="11640" y="14461"/>
                    <a:pt x="11197" y="14358"/>
                  </a:cubicBezTo>
                  <a:cubicBezTo>
                    <a:pt x="10757" y="14256"/>
                    <a:pt x="10269" y="14203"/>
                    <a:pt x="9738" y="14203"/>
                  </a:cubicBezTo>
                  <a:cubicBezTo>
                    <a:pt x="9310" y="14220"/>
                    <a:pt x="8825" y="14306"/>
                    <a:pt x="8286" y="14455"/>
                  </a:cubicBezTo>
                  <a:cubicBezTo>
                    <a:pt x="7824" y="14588"/>
                    <a:pt x="7266" y="14799"/>
                    <a:pt x="6605" y="15090"/>
                  </a:cubicBezTo>
                  <a:cubicBezTo>
                    <a:pt x="5944" y="15381"/>
                    <a:pt x="5207" y="15792"/>
                    <a:pt x="4394" y="16327"/>
                  </a:cubicBezTo>
                  <a:cubicBezTo>
                    <a:pt x="4169" y="16476"/>
                    <a:pt x="3978" y="16494"/>
                    <a:pt x="3826" y="16382"/>
                  </a:cubicBezTo>
                  <a:cubicBezTo>
                    <a:pt x="3674" y="16268"/>
                    <a:pt x="3598" y="16059"/>
                    <a:pt x="3598" y="15751"/>
                  </a:cubicBezTo>
                  <a:lnTo>
                    <a:pt x="3598" y="5273"/>
                  </a:lnTo>
                  <a:cubicBezTo>
                    <a:pt x="3598" y="4964"/>
                    <a:pt x="3674" y="4653"/>
                    <a:pt x="3826" y="4347"/>
                  </a:cubicBezTo>
                  <a:cubicBezTo>
                    <a:pt x="3978" y="4036"/>
                    <a:pt x="4169" y="3807"/>
                    <a:pt x="4394" y="3654"/>
                  </a:cubicBezTo>
                  <a:cubicBezTo>
                    <a:pt x="5207" y="3143"/>
                    <a:pt x="5941" y="2737"/>
                    <a:pt x="6597" y="2447"/>
                  </a:cubicBezTo>
                  <a:cubicBezTo>
                    <a:pt x="7253" y="2156"/>
                    <a:pt x="7816" y="1944"/>
                    <a:pt x="8286" y="1812"/>
                  </a:cubicBezTo>
                  <a:cubicBezTo>
                    <a:pt x="8832" y="1665"/>
                    <a:pt x="9317" y="1580"/>
                    <a:pt x="9738" y="1559"/>
                  </a:cubicBezTo>
                  <a:cubicBezTo>
                    <a:pt x="10269" y="1559"/>
                    <a:pt x="10757" y="1612"/>
                    <a:pt x="11197" y="1715"/>
                  </a:cubicBezTo>
                  <a:cubicBezTo>
                    <a:pt x="11640" y="1818"/>
                    <a:pt x="12059" y="1956"/>
                    <a:pt x="12458" y="2135"/>
                  </a:cubicBezTo>
                  <a:cubicBezTo>
                    <a:pt x="12857" y="2306"/>
                    <a:pt x="13242" y="2508"/>
                    <a:pt x="13619" y="2737"/>
                  </a:cubicBezTo>
                  <a:cubicBezTo>
                    <a:pt x="13993" y="2967"/>
                    <a:pt x="14385" y="3207"/>
                    <a:pt x="14791" y="3463"/>
                  </a:cubicBezTo>
                  <a:cubicBezTo>
                    <a:pt x="15281" y="3736"/>
                    <a:pt x="15849" y="3889"/>
                    <a:pt x="16490" y="3924"/>
                  </a:cubicBezTo>
                  <a:cubicBezTo>
                    <a:pt x="17036" y="3965"/>
                    <a:pt x="17678" y="3889"/>
                    <a:pt x="18412" y="3707"/>
                  </a:cubicBezTo>
                  <a:cubicBezTo>
                    <a:pt x="19146" y="3522"/>
                    <a:pt x="19957" y="3113"/>
                    <a:pt x="20838" y="2476"/>
                  </a:cubicBezTo>
                </a:path>
              </a:pathLst>
            </a:custGeom>
            <a:solidFill>
              <a:sysClr val="window" lastClr="FFFFFF"/>
            </a:solidFill>
            <a:ln>
              <a:noFill/>
            </a:ln>
            <a:effectLst/>
            <a:extLst/>
          </p:spPr>
          <p:txBody>
            <a:bodyPr lIns="47991" tIns="47991" rIns="47991" bIns="47991" anchor="ctr"/>
            <a:lstStyle/>
            <a:p>
              <a:pPr marL="0" marR="0" lvl="0" indent="0" defTabSz="431957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741" b="0" i="0" u="none" strike="noStrike" kern="0" cap="none" spc="0" normalizeH="0" baseline="0" noProof="0" dirty="0">
                <a:ln>
                  <a:noFill/>
                </a:ln>
                <a:solidFill>
                  <a:srgbClr val="44CEB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cs typeface="Gill Sans" charset="0"/>
                <a:sym typeface="Gill Sans" charset="0"/>
              </a:endParaRPr>
            </a:p>
          </p:txBody>
        </p:sp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32DB7207-2570-4437-8F0F-AE3A4214F2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0383" y="2450875"/>
              <a:ext cx="382729" cy="371431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86385" tIns="43193" rIns="86385" bIns="431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86393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701" b="0" i="0" u="none" strike="noStrike" kern="0" cap="none" spc="0" normalizeH="0" baseline="0" noProof="0">
                <a:ln>
                  <a:noFill/>
                </a:ln>
                <a:solidFill>
                  <a:srgbClr val="445469"/>
                </a:solidFill>
                <a:effectLst/>
                <a:uLnTx/>
                <a:uFillTx/>
                <a:latin typeface="Lato Light"/>
              </a:endParaRPr>
            </a:p>
          </p:txBody>
        </p:sp>
        <p:grpSp>
          <p:nvGrpSpPr>
            <p:cNvPr id="88" name="Group 55">
              <a:extLst>
                <a:ext uri="{FF2B5EF4-FFF2-40B4-BE49-F238E27FC236}">
                  <a16:creationId xmlns:a16="http://schemas.microsoft.com/office/drawing/2014/main" id="{429B940D-F023-4D03-9EE9-A77EC8220FBF}"/>
                </a:ext>
              </a:extLst>
            </p:cNvPr>
            <p:cNvGrpSpPr/>
            <p:nvPr/>
          </p:nvGrpSpPr>
          <p:grpSpPr>
            <a:xfrm>
              <a:off x="6741410" y="2475128"/>
              <a:ext cx="371334" cy="347294"/>
              <a:chOff x="998489" y="2241774"/>
              <a:chExt cx="256404" cy="239742"/>
            </a:xfrm>
            <a:solidFill>
              <a:sysClr val="window" lastClr="FFFFFF"/>
            </a:solidFill>
          </p:grpSpPr>
          <p:sp>
            <p:nvSpPr>
              <p:cNvPr id="89" name="Freeform 58">
                <a:extLst>
                  <a:ext uri="{FF2B5EF4-FFF2-40B4-BE49-F238E27FC236}">
                    <a16:creationId xmlns:a16="http://schemas.microsoft.com/office/drawing/2014/main" id="{5ACAEB2A-DAF4-4549-9087-4C127E9E09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8489" y="2241774"/>
                <a:ext cx="256404" cy="239742"/>
              </a:xfrm>
              <a:custGeom>
                <a:avLst/>
                <a:gdLst>
                  <a:gd name="T0" fmla="*/ 230 w 234"/>
                  <a:gd name="T1" fmla="*/ 48 h 219"/>
                  <a:gd name="T2" fmla="*/ 186 w 234"/>
                  <a:gd name="T3" fmla="*/ 5 h 219"/>
                  <a:gd name="T4" fmla="*/ 176 w 234"/>
                  <a:gd name="T5" fmla="*/ 0 h 219"/>
                  <a:gd name="T6" fmla="*/ 22 w 234"/>
                  <a:gd name="T7" fmla="*/ 0 h 219"/>
                  <a:gd name="T8" fmla="*/ 0 w 234"/>
                  <a:gd name="T9" fmla="*/ 22 h 219"/>
                  <a:gd name="T10" fmla="*/ 0 w 234"/>
                  <a:gd name="T11" fmla="*/ 197 h 219"/>
                  <a:gd name="T12" fmla="*/ 22 w 234"/>
                  <a:gd name="T13" fmla="*/ 219 h 219"/>
                  <a:gd name="T14" fmla="*/ 212 w 234"/>
                  <a:gd name="T15" fmla="*/ 219 h 219"/>
                  <a:gd name="T16" fmla="*/ 234 w 234"/>
                  <a:gd name="T17" fmla="*/ 197 h 219"/>
                  <a:gd name="T18" fmla="*/ 234 w 234"/>
                  <a:gd name="T19" fmla="*/ 59 h 219"/>
                  <a:gd name="T20" fmla="*/ 230 w 234"/>
                  <a:gd name="T21" fmla="*/ 48 h 219"/>
                  <a:gd name="T22" fmla="*/ 220 w 234"/>
                  <a:gd name="T23" fmla="*/ 197 h 219"/>
                  <a:gd name="T24" fmla="*/ 212 w 234"/>
                  <a:gd name="T25" fmla="*/ 205 h 219"/>
                  <a:gd name="T26" fmla="*/ 22 w 234"/>
                  <a:gd name="T27" fmla="*/ 205 h 219"/>
                  <a:gd name="T28" fmla="*/ 15 w 234"/>
                  <a:gd name="T29" fmla="*/ 197 h 219"/>
                  <a:gd name="T30" fmla="*/ 15 w 234"/>
                  <a:gd name="T31" fmla="*/ 22 h 219"/>
                  <a:gd name="T32" fmla="*/ 22 w 234"/>
                  <a:gd name="T33" fmla="*/ 15 h 219"/>
                  <a:gd name="T34" fmla="*/ 168 w 234"/>
                  <a:gd name="T35" fmla="*/ 15 h 219"/>
                  <a:gd name="T36" fmla="*/ 168 w 234"/>
                  <a:gd name="T37" fmla="*/ 44 h 219"/>
                  <a:gd name="T38" fmla="*/ 168 w 234"/>
                  <a:gd name="T39" fmla="*/ 44 h 219"/>
                  <a:gd name="T40" fmla="*/ 190 w 234"/>
                  <a:gd name="T41" fmla="*/ 66 h 219"/>
                  <a:gd name="T42" fmla="*/ 198 w 234"/>
                  <a:gd name="T43" fmla="*/ 66 h 219"/>
                  <a:gd name="T44" fmla="*/ 220 w 234"/>
                  <a:gd name="T45" fmla="*/ 66 h 219"/>
                  <a:gd name="T46" fmla="*/ 220 w 234"/>
                  <a:gd name="T47" fmla="*/ 197 h 219"/>
                  <a:gd name="T48" fmla="*/ 198 w 234"/>
                  <a:gd name="T49" fmla="*/ 59 h 219"/>
                  <a:gd name="T50" fmla="*/ 190 w 234"/>
                  <a:gd name="T51" fmla="*/ 59 h 219"/>
                  <a:gd name="T52" fmla="*/ 176 w 234"/>
                  <a:gd name="T53" fmla="*/ 44 h 219"/>
                  <a:gd name="T54" fmla="*/ 176 w 234"/>
                  <a:gd name="T55" fmla="*/ 44 h 219"/>
                  <a:gd name="T56" fmla="*/ 176 w 234"/>
                  <a:gd name="T57" fmla="*/ 15 h 219"/>
                  <a:gd name="T58" fmla="*/ 220 w 234"/>
                  <a:gd name="T59" fmla="*/ 59 h 219"/>
                  <a:gd name="T60" fmla="*/ 198 w 234"/>
                  <a:gd name="T61" fmla="*/ 5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34" h="219">
                    <a:moveTo>
                      <a:pt x="230" y="48"/>
                    </a:moveTo>
                    <a:cubicBezTo>
                      <a:pt x="186" y="5"/>
                      <a:pt x="186" y="5"/>
                      <a:pt x="186" y="5"/>
                    </a:cubicBezTo>
                    <a:cubicBezTo>
                      <a:pt x="183" y="2"/>
                      <a:pt x="180" y="0"/>
                      <a:pt x="176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210"/>
                      <a:pt x="10" y="219"/>
                      <a:pt x="22" y="219"/>
                    </a:cubicBezTo>
                    <a:cubicBezTo>
                      <a:pt x="212" y="219"/>
                      <a:pt x="212" y="219"/>
                      <a:pt x="212" y="219"/>
                    </a:cubicBezTo>
                    <a:cubicBezTo>
                      <a:pt x="224" y="219"/>
                      <a:pt x="234" y="210"/>
                      <a:pt x="234" y="197"/>
                    </a:cubicBezTo>
                    <a:cubicBezTo>
                      <a:pt x="234" y="59"/>
                      <a:pt x="234" y="59"/>
                      <a:pt x="234" y="59"/>
                    </a:cubicBezTo>
                    <a:cubicBezTo>
                      <a:pt x="234" y="55"/>
                      <a:pt x="233" y="51"/>
                      <a:pt x="230" y="48"/>
                    </a:cubicBezTo>
                    <a:close/>
                    <a:moveTo>
                      <a:pt x="220" y="197"/>
                    </a:moveTo>
                    <a:cubicBezTo>
                      <a:pt x="220" y="202"/>
                      <a:pt x="216" y="205"/>
                      <a:pt x="212" y="205"/>
                    </a:cubicBezTo>
                    <a:cubicBezTo>
                      <a:pt x="22" y="205"/>
                      <a:pt x="22" y="205"/>
                      <a:pt x="22" y="205"/>
                    </a:cubicBezTo>
                    <a:cubicBezTo>
                      <a:pt x="18" y="205"/>
                      <a:pt x="15" y="202"/>
                      <a:pt x="15" y="19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5" y="18"/>
                      <a:pt x="18" y="15"/>
                      <a:pt x="22" y="15"/>
                    </a:cubicBezTo>
                    <a:cubicBezTo>
                      <a:pt x="168" y="15"/>
                      <a:pt x="168" y="15"/>
                      <a:pt x="168" y="15"/>
                    </a:cubicBezTo>
                    <a:cubicBezTo>
                      <a:pt x="168" y="44"/>
                      <a:pt x="168" y="44"/>
                      <a:pt x="168" y="44"/>
                    </a:cubicBezTo>
                    <a:cubicBezTo>
                      <a:pt x="168" y="44"/>
                      <a:pt x="168" y="44"/>
                      <a:pt x="168" y="44"/>
                    </a:cubicBezTo>
                    <a:cubicBezTo>
                      <a:pt x="168" y="56"/>
                      <a:pt x="178" y="66"/>
                      <a:pt x="190" y="66"/>
                    </a:cubicBezTo>
                    <a:cubicBezTo>
                      <a:pt x="198" y="66"/>
                      <a:pt x="198" y="66"/>
                      <a:pt x="198" y="66"/>
                    </a:cubicBezTo>
                    <a:cubicBezTo>
                      <a:pt x="220" y="66"/>
                      <a:pt x="220" y="66"/>
                      <a:pt x="220" y="66"/>
                    </a:cubicBezTo>
                    <a:lnTo>
                      <a:pt x="220" y="197"/>
                    </a:lnTo>
                    <a:close/>
                    <a:moveTo>
                      <a:pt x="198" y="59"/>
                    </a:moveTo>
                    <a:cubicBezTo>
                      <a:pt x="190" y="59"/>
                      <a:pt x="190" y="59"/>
                      <a:pt x="190" y="59"/>
                    </a:cubicBezTo>
                    <a:cubicBezTo>
                      <a:pt x="182" y="59"/>
                      <a:pt x="176" y="52"/>
                      <a:pt x="176" y="44"/>
                    </a:cubicBezTo>
                    <a:cubicBezTo>
                      <a:pt x="176" y="44"/>
                      <a:pt x="176" y="44"/>
                      <a:pt x="176" y="44"/>
                    </a:cubicBezTo>
                    <a:cubicBezTo>
                      <a:pt x="176" y="15"/>
                      <a:pt x="176" y="15"/>
                      <a:pt x="176" y="15"/>
                    </a:cubicBezTo>
                    <a:cubicBezTo>
                      <a:pt x="220" y="59"/>
                      <a:pt x="220" y="59"/>
                      <a:pt x="220" y="59"/>
                    </a:cubicBezTo>
                    <a:lnTo>
                      <a:pt x="198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0" name="Freeform 59">
                <a:extLst>
                  <a:ext uri="{FF2B5EF4-FFF2-40B4-BE49-F238E27FC236}">
                    <a16:creationId xmlns:a16="http://schemas.microsoft.com/office/drawing/2014/main" id="{C4EDFF2B-7FDF-4CD1-B3EA-BF3580F86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823" y="2289908"/>
                <a:ext cx="48597" cy="7868"/>
              </a:xfrm>
              <a:custGeom>
                <a:avLst/>
                <a:gdLst>
                  <a:gd name="T0" fmla="*/ 4 w 44"/>
                  <a:gd name="T1" fmla="*/ 7 h 7"/>
                  <a:gd name="T2" fmla="*/ 40 w 44"/>
                  <a:gd name="T3" fmla="*/ 7 h 7"/>
                  <a:gd name="T4" fmla="*/ 44 w 44"/>
                  <a:gd name="T5" fmla="*/ 4 h 7"/>
                  <a:gd name="T6" fmla="*/ 40 w 44"/>
                  <a:gd name="T7" fmla="*/ 0 h 7"/>
                  <a:gd name="T8" fmla="*/ 4 w 44"/>
                  <a:gd name="T9" fmla="*/ 0 h 7"/>
                  <a:gd name="T10" fmla="*/ 0 w 44"/>
                  <a:gd name="T11" fmla="*/ 4 h 7"/>
                  <a:gd name="T12" fmla="*/ 4 w 44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7">
                    <a:moveTo>
                      <a:pt x="4" y="7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4" y="6"/>
                      <a:pt x="44" y="4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7"/>
                      <a:pt x="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1" name="Freeform 60">
                <a:extLst>
                  <a:ext uri="{FF2B5EF4-FFF2-40B4-BE49-F238E27FC236}">
                    <a16:creationId xmlns:a16="http://schemas.microsoft.com/office/drawing/2014/main" id="{EF406AED-2F81-47D5-9E12-8799F85ED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823" y="2313975"/>
                <a:ext cx="48597" cy="7868"/>
              </a:xfrm>
              <a:custGeom>
                <a:avLst/>
                <a:gdLst>
                  <a:gd name="T0" fmla="*/ 4 w 44"/>
                  <a:gd name="T1" fmla="*/ 7 h 7"/>
                  <a:gd name="T2" fmla="*/ 40 w 44"/>
                  <a:gd name="T3" fmla="*/ 7 h 7"/>
                  <a:gd name="T4" fmla="*/ 44 w 44"/>
                  <a:gd name="T5" fmla="*/ 4 h 7"/>
                  <a:gd name="T6" fmla="*/ 40 w 44"/>
                  <a:gd name="T7" fmla="*/ 0 h 7"/>
                  <a:gd name="T8" fmla="*/ 4 w 44"/>
                  <a:gd name="T9" fmla="*/ 0 h 7"/>
                  <a:gd name="T10" fmla="*/ 0 w 44"/>
                  <a:gd name="T11" fmla="*/ 4 h 7"/>
                  <a:gd name="T12" fmla="*/ 4 w 44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7">
                    <a:moveTo>
                      <a:pt x="4" y="7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2" y="7"/>
                      <a:pt x="44" y="6"/>
                      <a:pt x="44" y="4"/>
                    </a:cubicBezTo>
                    <a:cubicBezTo>
                      <a:pt x="44" y="2"/>
                      <a:pt x="42" y="0"/>
                      <a:pt x="4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7"/>
                      <a:pt x="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2" name="Freeform 61">
                <a:extLst>
                  <a:ext uri="{FF2B5EF4-FFF2-40B4-BE49-F238E27FC236}">
                    <a16:creationId xmlns:a16="http://schemas.microsoft.com/office/drawing/2014/main" id="{6E8843F3-A09C-4540-A31C-D570F8731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8823" y="2338041"/>
                <a:ext cx="104135" cy="7868"/>
              </a:xfrm>
              <a:custGeom>
                <a:avLst/>
                <a:gdLst>
                  <a:gd name="T0" fmla="*/ 0 w 95"/>
                  <a:gd name="T1" fmla="*/ 4 h 7"/>
                  <a:gd name="T2" fmla="*/ 4 w 95"/>
                  <a:gd name="T3" fmla="*/ 7 h 7"/>
                  <a:gd name="T4" fmla="*/ 91 w 95"/>
                  <a:gd name="T5" fmla="*/ 7 h 7"/>
                  <a:gd name="T6" fmla="*/ 95 w 95"/>
                  <a:gd name="T7" fmla="*/ 4 h 7"/>
                  <a:gd name="T8" fmla="*/ 91 w 95"/>
                  <a:gd name="T9" fmla="*/ 0 h 7"/>
                  <a:gd name="T10" fmla="*/ 4 w 95"/>
                  <a:gd name="T11" fmla="*/ 0 h 7"/>
                  <a:gd name="T12" fmla="*/ 0 w 95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5" h="7">
                    <a:moveTo>
                      <a:pt x="0" y="4"/>
                    </a:moveTo>
                    <a:cubicBezTo>
                      <a:pt x="0" y="6"/>
                      <a:pt x="2" y="7"/>
                      <a:pt x="4" y="7"/>
                    </a:cubicBezTo>
                    <a:cubicBezTo>
                      <a:pt x="91" y="7"/>
                      <a:pt x="91" y="7"/>
                      <a:pt x="91" y="7"/>
                    </a:cubicBezTo>
                    <a:cubicBezTo>
                      <a:pt x="93" y="7"/>
                      <a:pt x="95" y="6"/>
                      <a:pt x="95" y="4"/>
                    </a:cubicBezTo>
                    <a:cubicBezTo>
                      <a:pt x="95" y="2"/>
                      <a:pt x="93" y="0"/>
                      <a:pt x="9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3" name="Freeform 62">
                <a:extLst>
                  <a:ext uri="{FF2B5EF4-FFF2-40B4-BE49-F238E27FC236}">
                    <a16:creationId xmlns:a16="http://schemas.microsoft.com/office/drawing/2014/main" id="{18A03D09-D9D7-4FE6-9A44-13DC278DD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349" y="2386175"/>
                <a:ext cx="191609" cy="7868"/>
              </a:xfrm>
              <a:custGeom>
                <a:avLst/>
                <a:gdLst>
                  <a:gd name="T0" fmla="*/ 171 w 175"/>
                  <a:gd name="T1" fmla="*/ 0 h 7"/>
                  <a:gd name="T2" fmla="*/ 3 w 175"/>
                  <a:gd name="T3" fmla="*/ 0 h 7"/>
                  <a:gd name="T4" fmla="*/ 0 w 175"/>
                  <a:gd name="T5" fmla="*/ 3 h 7"/>
                  <a:gd name="T6" fmla="*/ 3 w 175"/>
                  <a:gd name="T7" fmla="*/ 7 h 7"/>
                  <a:gd name="T8" fmla="*/ 171 w 175"/>
                  <a:gd name="T9" fmla="*/ 7 h 7"/>
                  <a:gd name="T10" fmla="*/ 175 w 175"/>
                  <a:gd name="T11" fmla="*/ 3 h 7"/>
                  <a:gd name="T12" fmla="*/ 171 w 17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5" h="7">
                    <a:moveTo>
                      <a:pt x="171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171" y="7"/>
                      <a:pt x="171" y="7"/>
                      <a:pt x="171" y="7"/>
                    </a:cubicBezTo>
                    <a:cubicBezTo>
                      <a:pt x="173" y="7"/>
                      <a:pt x="175" y="5"/>
                      <a:pt x="175" y="3"/>
                    </a:cubicBezTo>
                    <a:cubicBezTo>
                      <a:pt x="175" y="1"/>
                      <a:pt x="173" y="0"/>
                      <a:pt x="1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4" name="Freeform 63">
                <a:extLst>
                  <a:ext uri="{FF2B5EF4-FFF2-40B4-BE49-F238E27FC236}">
                    <a16:creationId xmlns:a16="http://schemas.microsoft.com/office/drawing/2014/main" id="{6D2B3AE0-AD58-4C62-951C-2BFEC2034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349" y="2410242"/>
                <a:ext cx="191609" cy="7868"/>
              </a:xfrm>
              <a:custGeom>
                <a:avLst/>
                <a:gdLst>
                  <a:gd name="T0" fmla="*/ 171 w 175"/>
                  <a:gd name="T1" fmla="*/ 0 h 7"/>
                  <a:gd name="T2" fmla="*/ 3 w 175"/>
                  <a:gd name="T3" fmla="*/ 0 h 7"/>
                  <a:gd name="T4" fmla="*/ 0 w 175"/>
                  <a:gd name="T5" fmla="*/ 3 h 7"/>
                  <a:gd name="T6" fmla="*/ 3 w 175"/>
                  <a:gd name="T7" fmla="*/ 7 h 7"/>
                  <a:gd name="T8" fmla="*/ 171 w 175"/>
                  <a:gd name="T9" fmla="*/ 7 h 7"/>
                  <a:gd name="T10" fmla="*/ 175 w 175"/>
                  <a:gd name="T11" fmla="*/ 3 h 7"/>
                  <a:gd name="T12" fmla="*/ 171 w 17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5" h="7">
                    <a:moveTo>
                      <a:pt x="171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171" y="7"/>
                      <a:pt x="171" y="7"/>
                      <a:pt x="171" y="7"/>
                    </a:cubicBezTo>
                    <a:cubicBezTo>
                      <a:pt x="173" y="7"/>
                      <a:pt x="175" y="5"/>
                      <a:pt x="175" y="3"/>
                    </a:cubicBezTo>
                    <a:cubicBezTo>
                      <a:pt x="175" y="1"/>
                      <a:pt x="173" y="0"/>
                      <a:pt x="1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5" name="Freeform 64">
                <a:extLst>
                  <a:ext uri="{FF2B5EF4-FFF2-40B4-BE49-F238E27FC236}">
                    <a16:creationId xmlns:a16="http://schemas.microsoft.com/office/drawing/2014/main" id="{B4C4F86B-73B4-4257-8745-D93E6D263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349" y="2434308"/>
                <a:ext cx="191609" cy="7868"/>
              </a:xfrm>
              <a:custGeom>
                <a:avLst/>
                <a:gdLst>
                  <a:gd name="T0" fmla="*/ 171 w 175"/>
                  <a:gd name="T1" fmla="*/ 0 h 7"/>
                  <a:gd name="T2" fmla="*/ 3 w 175"/>
                  <a:gd name="T3" fmla="*/ 0 h 7"/>
                  <a:gd name="T4" fmla="*/ 0 w 175"/>
                  <a:gd name="T5" fmla="*/ 3 h 7"/>
                  <a:gd name="T6" fmla="*/ 3 w 175"/>
                  <a:gd name="T7" fmla="*/ 7 h 7"/>
                  <a:gd name="T8" fmla="*/ 171 w 175"/>
                  <a:gd name="T9" fmla="*/ 7 h 7"/>
                  <a:gd name="T10" fmla="*/ 175 w 175"/>
                  <a:gd name="T11" fmla="*/ 3 h 7"/>
                  <a:gd name="T12" fmla="*/ 171 w 17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5" h="7">
                    <a:moveTo>
                      <a:pt x="171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171" y="7"/>
                      <a:pt x="171" y="7"/>
                      <a:pt x="171" y="7"/>
                    </a:cubicBezTo>
                    <a:cubicBezTo>
                      <a:pt x="173" y="7"/>
                      <a:pt x="175" y="5"/>
                      <a:pt x="175" y="3"/>
                    </a:cubicBezTo>
                    <a:cubicBezTo>
                      <a:pt x="175" y="1"/>
                      <a:pt x="173" y="0"/>
                      <a:pt x="1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6" name="Freeform 65">
                <a:extLst>
                  <a:ext uri="{FF2B5EF4-FFF2-40B4-BE49-F238E27FC236}">
                    <a16:creationId xmlns:a16="http://schemas.microsoft.com/office/drawing/2014/main" id="{930C2A64-F429-4B6A-BA71-96BCBC9F9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349" y="2362108"/>
                <a:ext cx="191609" cy="7868"/>
              </a:xfrm>
              <a:custGeom>
                <a:avLst/>
                <a:gdLst>
                  <a:gd name="T0" fmla="*/ 171 w 175"/>
                  <a:gd name="T1" fmla="*/ 0 h 7"/>
                  <a:gd name="T2" fmla="*/ 3 w 175"/>
                  <a:gd name="T3" fmla="*/ 0 h 7"/>
                  <a:gd name="T4" fmla="*/ 0 w 175"/>
                  <a:gd name="T5" fmla="*/ 3 h 7"/>
                  <a:gd name="T6" fmla="*/ 3 w 175"/>
                  <a:gd name="T7" fmla="*/ 7 h 7"/>
                  <a:gd name="T8" fmla="*/ 171 w 175"/>
                  <a:gd name="T9" fmla="*/ 7 h 7"/>
                  <a:gd name="T10" fmla="*/ 175 w 175"/>
                  <a:gd name="T11" fmla="*/ 3 h 7"/>
                  <a:gd name="T12" fmla="*/ 171 w 17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5" h="7">
                    <a:moveTo>
                      <a:pt x="171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6"/>
                      <a:pt x="1" y="7"/>
                      <a:pt x="3" y="7"/>
                    </a:cubicBezTo>
                    <a:cubicBezTo>
                      <a:pt x="171" y="7"/>
                      <a:pt x="171" y="7"/>
                      <a:pt x="171" y="7"/>
                    </a:cubicBezTo>
                    <a:cubicBezTo>
                      <a:pt x="173" y="7"/>
                      <a:pt x="175" y="6"/>
                      <a:pt x="175" y="3"/>
                    </a:cubicBezTo>
                    <a:cubicBezTo>
                      <a:pt x="175" y="1"/>
                      <a:pt x="173" y="0"/>
                      <a:pt x="1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  <p:sp>
            <p:nvSpPr>
              <p:cNvPr id="97" name="Freeform 66">
                <a:extLst>
                  <a:ext uri="{FF2B5EF4-FFF2-40B4-BE49-F238E27FC236}">
                    <a16:creationId xmlns:a16="http://schemas.microsoft.com/office/drawing/2014/main" id="{B491A119-42F7-4B56-93A6-55C20B03D8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1349" y="2282040"/>
                <a:ext cx="71275" cy="63870"/>
              </a:xfrm>
              <a:custGeom>
                <a:avLst/>
                <a:gdLst>
                  <a:gd name="T0" fmla="*/ 7 w 65"/>
                  <a:gd name="T1" fmla="*/ 58 h 58"/>
                  <a:gd name="T2" fmla="*/ 58 w 65"/>
                  <a:gd name="T3" fmla="*/ 58 h 58"/>
                  <a:gd name="T4" fmla="*/ 65 w 65"/>
                  <a:gd name="T5" fmla="*/ 51 h 58"/>
                  <a:gd name="T6" fmla="*/ 65 w 65"/>
                  <a:gd name="T7" fmla="*/ 7 h 58"/>
                  <a:gd name="T8" fmla="*/ 58 w 65"/>
                  <a:gd name="T9" fmla="*/ 0 h 58"/>
                  <a:gd name="T10" fmla="*/ 7 w 65"/>
                  <a:gd name="T11" fmla="*/ 0 h 58"/>
                  <a:gd name="T12" fmla="*/ 0 w 65"/>
                  <a:gd name="T13" fmla="*/ 7 h 58"/>
                  <a:gd name="T14" fmla="*/ 0 w 65"/>
                  <a:gd name="T15" fmla="*/ 51 h 58"/>
                  <a:gd name="T16" fmla="*/ 7 w 65"/>
                  <a:gd name="T17" fmla="*/ 58 h 58"/>
                  <a:gd name="T18" fmla="*/ 14 w 65"/>
                  <a:gd name="T19" fmla="*/ 14 h 58"/>
                  <a:gd name="T20" fmla="*/ 51 w 65"/>
                  <a:gd name="T21" fmla="*/ 14 h 58"/>
                  <a:gd name="T22" fmla="*/ 51 w 65"/>
                  <a:gd name="T23" fmla="*/ 44 h 58"/>
                  <a:gd name="T24" fmla="*/ 14 w 65"/>
                  <a:gd name="T25" fmla="*/ 44 h 58"/>
                  <a:gd name="T26" fmla="*/ 14 w 65"/>
                  <a:gd name="T27" fmla="*/ 1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5" h="58">
                    <a:moveTo>
                      <a:pt x="7" y="58"/>
                    </a:moveTo>
                    <a:cubicBezTo>
                      <a:pt x="58" y="58"/>
                      <a:pt x="58" y="58"/>
                      <a:pt x="58" y="58"/>
                    </a:cubicBezTo>
                    <a:cubicBezTo>
                      <a:pt x="62" y="58"/>
                      <a:pt x="65" y="55"/>
                      <a:pt x="65" y="51"/>
                    </a:cubicBezTo>
                    <a:cubicBezTo>
                      <a:pt x="65" y="7"/>
                      <a:pt x="65" y="7"/>
                      <a:pt x="65" y="7"/>
                    </a:cubicBezTo>
                    <a:cubicBezTo>
                      <a:pt x="65" y="3"/>
                      <a:pt x="62" y="0"/>
                      <a:pt x="5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5"/>
                      <a:pt x="3" y="58"/>
                      <a:pt x="7" y="58"/>
                    </a:cubicBezTo>
                    <a:close/>
                    <a:moveTo>
                      <a:pt x="14" y="14"/>
                    </a:moveTo>
                    <a:cubicBezTo>
                      <a:pt x="51" y="14"/>
                      <a:pt x="51" y="14"/>
                      <a:pt x="51" y="14"/>
                    </a:cubicBezTo>
                    <a:cubicBezTo>
                      <a:pt x="51" y="44"/>
                      <a:pt x="51" y="44"/>
                      <a:pt x="51" y="44"/>
                    </a:cubicBezTo>
                    <a:cubicBezTo>
                      <a:pt x="14" y="44"/>
                      <a:pt x="14" y="44"/>
                      <a:pt x="14" y="44"/>
                    </a:cubicBezTo>
                    <a:lnTo>
                      <a:pt x="1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3201" tIns="21601" rIns="43201" bIns="21601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863935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701" b="0" i="0" u="none" strike="noStrike" kern="0" cap="none" spc="0" normalizeH="0" baseline="0" noProof="0">
                  <a:ln>
                    <a:noFill/>
                  </a:ln>
                  <a:solidFill>
                    <a:srgbClr val="445469"/>
                  </a:solidFill>
                  <a:effectLst/>
                  <a:uLnTx/>
                  <a:uFillTx/>
                  <a:latin typeface="Lato Light"/>
                </a:endParaRPr>
              </a:p>
            </p:txBody>
          </p:sp>
        </p:grpSp>
        <p:grpSp>
          <p:nvGrpSpPr>
            <p:cNvPr id="100" name="Group 153">
              <a:extLst>
                <a:ext uri="{FF2B5EF4-FFF2-40B4-BE49-F238E27FC236}">
                  <a16:creationId xmlns:a16="http://schemas.microsoft.com/office/drawing/2014/main" id="{9EAE1B5C-55ED-49DC-B954-8540EE19BC9C}"/>
                </a:ext>
              </a:extLst>
            </p:cNvPr>
            <p:cNvGrpSpPr/>
            <p:nvPr/>
          </p:nvGrpSpPr>
          <p:grpSpPr>
            <a:xfrm>
              <a:off x="9214454" y="2436486"/>
              <a:ext cx="405003" cy="401466"/>
              <a:chOff x="-6350" y="1208088"/>
              <a:chExt cx="363538" cy="360363"/>
            </a:xfrm>
            <a:solidFill>
              <a:srgbClr val="FFFFFF"/>
            </a:solidFill>
          </p:grpSpPr>
          <p:sp>
            <p:nvSpPr>
              <p:cNvPr id="101" name="Freeform 5">
                <a:extLst>
                  <a:ext uri="{FF2B5EF4-FFF2-40B4-BE49-F238E27FC236}">
                    <a16:creationId xmlns:a16="http://schemas.microsoft.com/office/drawing/2014/main" id="{720D3860-B50D-4529-8137-AFE56ABE66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6350" y="1208088"/>
                <a:ext cx="363538" cy="360363"/>
              </a:xfrm>
              <a:custGeom>
                <a:avLst/>
                <a:gdLst/>
                <a:ahLst/>
                <a:cxnLst>
                  <a:cxn ang="0">
                    <a:pos x="121" y="41"/>
                  </a:cxn>
                  <a:cxn ang="0">
                    <a:pos x="83" y="2"/>
                  </a:cxn>
                  <a:cxn ang="0">
                    <a:pos x="76" y="0"/>
                  </a:cxn>
                  <a:cxn ang="0">
                    <a:pos x="72" y="2"/>
                  </a:cxn>
                  <a:cxn ang="0">
                    <a:pos x="70" y="6"/>
                  </a:cxn>
                  <a:cxn ang="0">
                    <a:pos x="61" y="21"/>
                  </a:cxn>
                  <a:cxn ang="0">
                    <a:pos x="39" y="36"/>
                  </a:cxn>
                  <a:cxn ang="0">
                    <a:pos x="14" y="53"/>
                  </a:cxn>
                  <a:cxn ang="0">
                    <a:pos x="1" y="75"/>
                  </a:cxn>
                  <a:cxn ang="0">
                    <a:pos x="3" y="82"/>
                  </a:cxn>
                  <a:cxn ang="0">
                    <a:pos x="42" y="121"/>
                  </a:cxn>
                  <a:cxn ang="0">
                    <a:pos x="49" y="123"/>
                  </a:cxn>
                  <a:cxn ang="0">
                    <a:pos x="52" y="121"/>
                  </a:cxn>
                  <a:cxn ang="0">
                    <a:pos x="54" y="117"/>
                  </a:cxn>
                  <a:cxn ang="0">
                    <a:pos x="63" y="103"/>
                  </a:cxn>
                  <a:cxn ang="0">
                    <a:pos x="85" y="87"/>
                  </a:cxn>
                  <a:cxn ang="0">
                    <a:pos x="110" y="70"/>
                  </a:cxn>
                  <a:cxn ang="0">
                    <a:pos x="123" y="48"/>
                  </a:cxn>
                  <a:cxn ang="0">
                    <a:pos x="121" y="41"/>
                  </a:cxn>
                  <a:cxn ang="0">
                    <a:pos x="47" y="115"/>
                  </a:cxn>
                  <a:cxn ang="0">
                    <a:pos x="9" y="77"/>
                  </a:cxn>
                  <a:cxn ang="0">
                    <a:pos x="78" y="8"/>
                  </a:cxn>
                  <a:cxn ang="0">
                    <a:pos x="116" y="46"/>
                  </a:cxn>
                  <a:cxn ang="0">
                    <a:pos x="47" y="115"/>
                  </a:cxn>
                  <a:cxn ang="0">
                    <a:pos x="47" y="115"/>
                  </a:cxn>
                  <a:cxn ang="0">
                    <a:pos x="47" y="115"/>
                  </a:cxn>
                </a:cxnLst>
                <a:rect l="0" t="0" r="r" b="b"/>
                <a:pathLst>
                  <a:path w="124" h="123">
                    <a:moveTo>
                      <a:pt x="121" y="41"/>
                    </a:moveTo>
                    <a:cubicBezTo>
                      <a:pt x="83" y="2"/>
                      <a:pt x="83" y="2"/>
                      <a:pt x="83" y="2"/>
                    </a:cubicBezTo>
                    <a:cubicBezTo>
                      <a:pt x="81" y="0"/>
                      <a:pt x="78" y="0"/>
                      <a:pt x="76" y="0"/>
                    </a:cubicBezTo>
                    <a:cubicBezTo>
                      <a:pt x="74" y="1"/>
                      <a:pt x="73" y="1"/>
                      <a:pt x="72" y="2"/>
                    </a:cubicBezTo>
                    <a:cubicBezTo>
                      <a:pt x="71" y="3"/>
                      <a:pt x="71" y="4"/>
                      <a:pt x="70" y="6"/>
                    </a:cubicBezTo>
                    <a:cubicBezTo>
                      <a:pt x="69" y="11"/>
                      <a:pt x="66" y="16"/>
                      <a:pt x="61" y="21"/>
                    </a:cubicBezTo>
                    <a:cubicBezTo>
                      <a:pt x="55" y="26"/>
                      <a:pt x="47" y="31"/>
                      <a:pt x="39" y="36"/>
                    </a:cubicBezTo>
                    <a:cubicBezTo>
                      <a:pt x="31" y="41"/>
                      <a:pt x="22" y="46"/>
                      <a:pt x="14" y="53"/>
                    </a:cubicBezTo>
                    <a:cubicBezTo>
                      <a:pt x="8" y="60"/>
                      <a:pt x="4" y="67"/>
                      <a:pt x="1" y="75"/>
                    </a:cubicBezTo>
                    <a:cubicBezTo>
                      <a:pt x="0" y="77"/>
                      <a:pt x="1" y="80"/>
                      <a:pt x="3" y="82"/>
                    </a:cubicBezTo>
                    <a:cubicBezTo>
                      <a:pt x="42" y="121"/>
                      <a:pt x="42" y="121"/>
                      <a:pt x="42" y="121"/>
                    </a:cubicBezTo>
                    <a:cubicBezTo>
                      <a:pt x="43" y="123"/>
                      <a:pt x="46" y="123"/>
                      <a:pt x="49" y="123"/>
                    </a:cubicBezTo>
                    <a:cubicBezTo>
                      <a:pt x="50" y="122"/>
                      <a:pt x="51" y="122"/>
                      <a:pt x="52" y="121"/>
                    </a:cubicBezTo>
                    <a:cubicBezTo>
                      <a:pt x="53" y="120"/>
                      <a:pt x="54" y="119"/>
                      <a:pt x="54" y="117"/>
                    </a:cubicBezTo>
                    <a:cubicBezTo>
                      <a:pt x="56" y="112"/>
                      <a:pt x="59" y="107"/>
                      <a:pt x="63" y="103"/>
                    </a:cubicBezTo>
                    <a:cubicBezTo>
                      <a:pt x="69" y="97"/>
                      <a:pt x="77" y="92"/>
                      <a:pt x="85" y="87"/>
                    </a:cubicBezTo>
                    <a:cubicBezTo>
                      <a:pt x="94" y="82"/>
                      <a:pt x="103" y="77"/>
                      <a:pt x="110" y="70"/>
                    </a:cubicBezTo>
                    <a:cubicBezTo>
                      <a:pt x="117" y="63"/>
                      <a:pt x="121" y="57"/>
                      <a:pt x="123" y="48"/>
                    </a:cubicBezTo>
                    <a:cubicBezTo>
                      <a:pt x="124" y="46"/>
                      <a:pt x="123" y="43"/>
                      <a:pt x="121" y="41"/>
                    </a:cubicBezTo>
                    <a:close/>
                    <a:moveTo>
                      <a:pt x="47" y="115"/>
                    </a:moveTo>
                    <a:cubicBezTo>
                      <a:pt x="34" y="103"/>
                      <a:pt x="21" y="90"/>
                      <a:pt x="9" y="77"/>
                    </a:cubicBezTo>
                    <a:cubicBezTo>
                      <a:pt x="20" y="42"/>
                      <a:pt x="67" y="43"/>
                      <a:pt x="78" y="8"/>
                    </a:cubicBezTo>
                    <a:cubicBezTo>
                      <a:pt x="90" y="21"/>
                      <a:pt x="103" y="33"/>
                      <a:pt x="116" y="46"/>
                    </a:cubicBezTo>
                    <a:cubicBezTo>
                      <a:pt x="105" y="81"/>
                      <a:pt x="58" y="80"/>
                      <a:pt x="47" y="115"/>
                    </a:cubicBezTo>
                    <a:close/>
                    <a:moveTo>
                      <a:pt x="47" y="115"/>
                    </a:moveTo>
                    <a:cubicBezTo>
                      <a:pt x="47" y="115"/>
                      <a:pt x="47" y="115"/>
                      <a:pt x="47" y="11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02" name="Freeform 6">
                <a:extLst>
                  <a:ext uri="{FF2B5EF4-FFF2-40B4-BE49-F238E27FC236}">
                    <a16:creationId xmlns:a16="http://schemas.microsoft.com/office/drawing/2014/main" id="{8017AEF7-FEA0-4A98-81D9-AEE94F3F60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413" y="1336676"/>
                <a:ext cx="100013" cy="100013"/>
              </a:xfrm>
              <a:custGeom>
                <a:avLst/>
                <a:gdLst/>
                <a:ahLst/>
                <a:cxnLst>
                  <a:cxn ang="0">
                    <a:pos x="27" y="11"/>
                  </a:cxn>
                  <a:cxn ang="0">
                    <a:pos x="20" y="12"/>
                  </a:cxn>
                  <a:cxn ang="0">
                    <a:pos x="9" y="6"/>
                  </a:cxn>
                  <a:cxn ang="0">
                    <a:pos x="15" y="5"/>
                  </a:cxn>
                  <a:cxn ang="0">
                    <a:pos x="19" y="5"/>
                  </a:cxn>
                  <a:cxn ang="0">
                    <a:pos x="19" y="1"/>
                  </a:cxn>
                  <a:cxn ang="0">
                    <a:pos x="12" y="0"/>
                  </a:cxn>
                  <a:cxn ang="0">
                    <a:pos x="6" y="3"/>
                  </a:cxn>
                  <a:cxn ang="0">
                    <a:pos x="4" y="2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1" y="13"/>
                  </a:cxn>
                  <a:cxn ang="0">
                    <a:pos x="3" y="20"/>
                  </a:cxn>
                  <a:cxn ang="0">
                    <a:pos x="18" y="20"/>
                  </a:cxn>
                  <a:cxn ang="0">
                    <a:pos x="22" y="29"/>
                  </a:cxn>
                  <a:cxn ang="0">
                    <a:pos x="18" y="28"/>
                  </a:cxn>
                  <a:cxn ang="0">
                    <a:pos x="15" y="26"/>
                  </a:cxn>
                  <a:cxn ang="0">
                    <a:pos x="13" y="29"/>
                  </a:cxn>
                  <a:cxn ang="0">
                    <a:pos x="16" y="33"/>
                  </a:cxn>
                  <a:cxn ang="0">
                    <a:pos x="24" y="33"/>
                  </a:cxn>
                  <a:cxn ang="0">
                    <a:pos x="30" y="32"/>
                  </a:cxn>
                  <a:cxn ang="0">
                    <a:pos x="32" y="32"/>
                  </a:cxn>
                  <a:cxn ang="0">
                    <a:pos x="32" y="30"/>
                  </a:cxn>
                  <a:cxn ang="0">
                    <a:pos x="32" y="24"/>
                  </a:cxn>
                  <a:cxn ang="0">
                    <a:pos x="33" y="16"/>
                  </a:cxn>
                  <a:cxn ang="0">
                    <a:pos x="10" y="16"/>
                  </a:cxn>
                  <a:cxn ang="0">
                    <a:pos x="6" y="14"/>
                  </a:cxn>
                  <a:cxn ang="0">
                    <a:pos x="6" y="10"/>
                  </a:cxn>
                  <a:cxn ang="0">
                    <a:pos x="13" y="15"/>
                  </a:cxn>
                  <a:cxn ang="0">
                    <a:pos x="28" y="24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27" y="18"/>
                  </a:cxn>
                  <a:cxn ang="0">
                    <a:pos x="28" y="22"/>
                  </a:cxn>
                  <a:cxn ang="0">
                    <a:pos x="28" y="24"/>
                  </a:cxn>
                </a:cxnLst>
                <a:rect l="0" t="0" r="r" b="b"/>
                <a:pathLst>
                  <a:path w="34" h="34">
                    <a:moveTo>
                      <a:pt x="31" y="13"/>
                    </a:moveTo>
                    <a:cubicBezTo>
                      <a:pt x="30" y="12"/>
                      <a:pt x="28" y="12"/>
                      <a:pt x="27" y="11"/>
                    </a:cubicBezTo>
                    <a:cubicBezTo>
                      <a:pt x="26" y="11"/>
                      <a:pt x="25" y="11"/>
                      <a:pt x="23" y="11"/>
                    </a:cubicBezTo>
                    <a:cubicBezTo>
                      <a:pt x="22" y="11"/>
                      <a:pt x="21" y="11"/>
                      <a:pt x="20" y="12"/>
                    </a:cubicBezTo>
                    <a:cubicBezTo>
                      <a:pt x="18" y="12"/>
                      <a:pt x="17" y="13"/>
                      <a:pt x="16" y="13"/>
                    </a:cubicBezTo>
                    <a:cubicBezTo>
                      <a:pt x="14" y="11"/>
                      <a:pt x="12" y="9"/>
                      <a:pt x="9" y="6"/>
                    </a:cubicBezTo>
                    <a:cubicBezTo>
                      <a:pt x="10" y="6"/>
                      <a:pt x="11" y="5"/>
                      <a:pt x="12" y="5"/>
                    </a:cubicBezTo>
                    <a:cubicBezTo>
                      <a:pt x="13" y="5"/>
                      <a:pt x="14" y="5"/>
                      <a:pt x="15" y="5"/>
                    </a:cubicBezTo>
                    <a:cubicBezTo>
                      <a:pt x="16" y="6"/>
                      <a:pt x="16" y="6"/>
                      <a:pt x="17" y="6"/>
                    </a:cubicBezTo>
                    <a:cubicBezTo>
                      <a:pt x="18" y="6"/>
                      <a:pt x="18" y="6"/>
                      <a:pt x="19" y="5"/>
                    </a:cubicBezTo>
                    <a:cubicBezTo>
                      <a:pt x="19" y="5"/>
                      <a:pt x="20" y="4"/>
                      <a:pt x="20" y="4"/>
                    </a:cubicBezTo>
                    <a:cubicBezTo>
                      <a:pt x="20" y="3"/>
                      <a:pt x="19" y="2"/>
                      <a:pt x="19" y="1"/>
                    </a:cubicBezTo>
                    <a:cubicBezTo>
                      <a:pt x="18" y="0"/>
                      <a:pt x="17" y="0"/>
                      <a:pt x="16" y="0"/>
                    </a:cubicBezTo>
                    <a:cubicBezTo>
                      <a:pt x="15" y="0"/>
                      <a:pt x="13" y="0"/>
                      <a:pt x="12" y="0"/>
                    </a:cubicBezTo>
                    <a:cubicBezTo>
                      <a:pt x="11" y="0"/>
                      <a:pt x="10" y="1"/>
                      <a:pt x="9" y="1"/>
                    </a:cubicBezTo>
                    <a:cubicBezTo>
                      <a:pt x="8" y="2"/>
                      <a:pt x="7" y="2"/>
                      <a:pt x="6" y="3"/>
                    </a:cubicBezTo>
                    <a:cubicBezTo>
                      <a:pt x="6" y="3"/>
                      <a:pt x="6" y="3"/>
                      <a:pt x="5" y="2"/>
                    </a:cubicBezTo>
                    <a:cubicBezTo>
                      <a:pt x="5" y="2"/>
                      <a:pt x="5" y="2"/>
                      <a:pt x="4" y="2"/>
                    </a:cubicBezTo>
                    <a:cubicBezTo>
                      <a:pt x="4" y="2"/>
                      <a:pt x="4" y="2"/>
                      <a:pt x="3" y="3"/>
                    </a:cubicBezTo>
                    <a:cubicBezTo>
                      <a:pt x="3" y="3"/>
                      <a:pt x="3" y="3"/>
                      <a:pt x="3" y="4"/>
                    </a:cubicBezTo>
                    <a:cubicBezTo>
                      <a:pt x="3" y="4"/>
                      <a:pt x="3" y="4"/>
                      <a:pt x="3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6"/>
                      <a:pt x="2" y="8"/>
                      <a:pt x="2" y="9"/>
                    </a:cubicBezTo>
                    <a:cubicBezTo>
                      <a:pt x="1" y="11"/>
                      <a:pt x="1" y="12"/>
                      <a:pt x="1" y="13"/>
                    </a:cubicBezTo>
                    <a:cubicBezTo>
                      <a:pt x="0" y="15"/>
                      <a:pt x="1" y="16"/>
                      <a:pt x="1" y="17"/>
                    </a:cubicBezTo>
                    <a:cubicBezTo>
                      <a:pt x="1" y="18"/>
                      <a:pt x="2" y="19"/>
                      <a:pt x="3" y="20"/>
                    </a:cubicBezTo>
                    <a:cubicBezTo>
                      <a:pt x="5" y="21"/>
                      <a:pt x="7" y="22"/>
                      <a:pt x="10" y="22"/>
                    </a:cubicBezTo>
                    <a:cubicBezTo>
                      <a:pt x="12" y="22"/>
                      <a:pt x="15" y="21"/>
                      <a:pt x="18" y="20"/>
                    </a:cubicBezTo>
                    <a:cubicBezTo>
                      <a:pt x="20" y="22"/>
                      <a:pt x="22" y="25"/>
                      <a:pt x="24" y="27"/>
                    </a:cubicBezTo>
                    <a:cubicBezTo>
                      <a:pt x="24" y="28"/>
                      <a:pt x="23" y="28"/>
                      <a:pt x="22" y="29"/>
                    </a:cubicBezTo>
                    <a:cubicBezTo>
                      <a:pt x="21" y="29"/>
                      <a:pt x="21" y="29"/>
                      <a:pt x="20" y="29"/>
                    </a:cubicBezTo>
                    <a:cubicBezTo>
                      <a:pt x="19" y="28"/>
                      <a:pt x="19" y="28"/>
                      <a:pt x="18" y="28"/>
                    </a:cubicBezTo>
                    <a:cubicBezTo>
                      <a:pt x="18" y="27"/>
                      <a:pt x="17" y="27"/>
                      <a:pt x="17" y="27"/>
                    </a:cubicBezTo>
                    <a:cubicBezTo>
                      <a:pt x="16" y="27"/>
                      <a:pt x="16" y="26"/>
                      <a:pt x="15" y="26"/>
                    </a:cubicBezTo>
                    <a:cubicBezTo>
                      <a:pt x="15" y="26"/>
                      <a:pt x="14" y="27"/>
                      <a:pt x="14" y="27"/>
                    </a:cubicBezTo>
                    <a:cubicBezTo>
                      <a:pt x="13" y="28"/>
                      <a:pt x="13" y="28"/>
                      <a:pt x="13" y="29"/>
                    </a:cubicBezTo>
                    <a:cubicBezTo>
                      <a:pt x="13" y="30"/>
                      <a:pt x="13" y="31"/>
                      <a:pt x="14" y="31"/>
                    </a:cubicBezTo>
                    <a:cubicBezTo>
                      <a:pt x="14" y="32"/>
                      <a:pt x="15" y="33"/>
                      <a:pt x="16" y="33"/>
                    </a:cubicBezTo>
                    <a:cubicBezTo>
                      <a:pt x="17" y="34"/>
                      <a:pt x="18" y="34"/>
                      <a:pt x="20" y="34"/>
                    </a:cubicBezTo>
                    <a:cubicBezTo>
                      <a:pt x="21" y="34"/>
                      <a:pt x="22" y="34"/>
                      <a:pt x="24" y="33"/>
                    </a:cubicBezTo>
                    <a:cubicBezTo>
                      <a:pt x="25" y="33"/>
                      <a:pt x="26" y="32"/>
                      <a:pt x="28" y="31"/>
                    </a:cubicBezTo>
                    <a:cubicBezTo>
                      <a:pt x="28" y="31"/>
                      <a:pt x="29" y="32"/>
                      <a:pt x="30" y="32"/>
                    </a:cubicBezTo>
                    <a:cubicBezTo>
                      <a:pt x="30" y="33"/>
                      <a:pt x="30" y="33"/>
                      <a:pt x="31" y="33"/>
                    </a:cubicBezTo>
                    <a:cubicBezTo>
                      <a:pt x="31" y="33"/>
                      <a:pt x="32" y="33"/>
                      <a:pt x="32" y="32"/>
                    </a:cubicBezTo>
                    <a:cubicBezTo>
                      <a:pt x="32" y="32"/>
                      <a:pt x="32" y="31"/>
                      <a:pt x="32" y="31"/>
                    </a:cubicBezTo>
                    <a:cubicBezTo>
                      <a:pt x="32" y="31"/>
                      <a:pt x="32" y="30"/>
                      <a:pt x="32" y="30"/>
                    </a:cubicBezTo>
                    <a:cubicBezTo>
                      <a:pt x="31" y="30"/>
                      <a:pt x="30" y="29"/>
                      <a:pt x="30" y="28"/>
                    </a:cubicBezTo>
                    <a:cubicBezTo>
                      <a:pt x="31" y="27"/>
                      <a:pt x="32" y="26"/>
                      <a:pt x="32" y="24"/>
                    </a:cubicBezTo>
                    <a:cubicBezTo>
                      <a:pt x="33" y="23"/>
                      <a:pt x="34" y="21"/>
                      <a:pt x="34" y="20"/>
                    </a:cubicBezTo>
                    <a:cubicBezTo>
                      <a:pt x="34" y="19"/>
                      <a:pt x="34" y="17"/>
                      <a:pt x="33" y="16"/>
                    </a:cubicBezTo>
                    <a:cubicBezTo>
                      <a:pt x="33" y="15"/>
                      <a:pt x="32" y="14"/>
                      <a:pt x="31" y="13"/>
                    </a:cubicBezTo>
                    <a:close/>
                    <a:moveTo>
                      <a:pt x="10" y="16"/>
                    </a:moveTo>
                    <a:cubicBezTo>
                      <a:pt x="8" y="16"/>
                      <a:pt x="7" y="16"/>
                      <a:pt x="7" y="15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3"/>
                      <a:pt x="6" y="13"/>
                      <a:pt x="6" y="12"/>
                    </a:cubicBezTo>
                    <a:cubicBezTo>
                      <a:pt x="6" y="11"/>
                      <a:pt x="6" y="11"/>
                      <a:pt x="6" y="10"/>
                    </a:cubicBezTo>
                    <a:cubicBezTo>
                      <a:pt x="7" y="10"/>
                      <a:pt x="7" y="9"/>
                      <a:pt x="8" y="8"/>
                    </a:cubicBezTo>
                    <a:cubicBezTo>
                      <a:pt x="9" y="10"/>
                      <a:pt x="11" y="12"/>
                      <a:pt x="13" y="15"/>
                    </a:cubicBezTo>
                    <a:cubicBezTo>
                      <a:pt x="12" y="15"/>
                      <a:pt x="11" y="16"/>
                      <a:pt x="10" y="16"/>
                    </a:cubicBezTo>
                    <a:close/>
                    <a:moveTo>
                      <a:pt x="28" y="24"/>
                    </a:moveTo>
                    <a:cubicBezTo>
                      <a:pt x="27" y="24"/>
                      <a:pt x="27" y="25"/>
                      <a:pt x="26" y="25"/>
                    </a:cubicBezTo>
                    <a:cubicBezTo>
                      <a:pt x="24" y="23"/>
                      <a:pt x="22" y="21"/>
                      <a:pt x="20" y="18"/>
                    </a:cubicBezTo>
                    <a:cubicBezTo>
                      <a:pt x="21" y="18"/>
                      <a:pt x="21" y="18"/>
                      <a:pt x="22" y="18"/>
                    </a:cubicBezTo>
                    <a:cubicBezTo>
                      <a:pt x="22" y="17"/>
                      <a:pt x="23" y="17"/>
                      <a:pt x="24" y="17"/>
                    </a:cubicBezTo>
                    <a:cubicBezTo>
                      <a:pt x="24" y="17"/>
                      <a:pt x="25" y="17"/>
                      <a:pt x="25" y="17"/>
                    </a:cubicBezTo>
                    <a:cubicBezTo>
                      <a:pt x="26" y="17"/>
                      <a:pt x="27" y="18"/>
                      <a:pt x="27" y="18"/>
                    </a:cubicBezTo>
                    <a:cubicBezTo>
                      <a:pt x="28" y="19"/>
                      <a:pt x="28" y="19"/>
                      <a:pt x="28" y="20"/>
                    </a:cubicBezTo>
                    <a:cubicBezTo>
                      <a:pt x="28" y="20"/>
                      <a:pt x="28" y="21"/>
                      <a:pt x="28" y="22"/>
                    </a:cubicBezTo>
                    <a:cubicBezTo>
                      <a:pt x="28" y="22"/>
                      <a:pt x="28" y="23"/>
                      <a:pt x="28" y="24"/>
                    </a:cubicBezTo>
                    <a:close/>
                    <a:moveTo>
                      <a:pt x="28" y="24"/>
                    </a:moveTo>
                    <a:cubicBezTo>
                      <a:pt x="28" y="24"/>
                      <a:pt x="28" y="24"/>
                      <a:pt x="28" y="2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03" name="Freeform 7">
                <a:extLst>
                  <a:ext uri="{FF2B5EF4-FFF2-40B4-BE49-F238E27FC236}">
                    <a16:creationId xmlns:a16="http://schemas.microsoft.com/office/drawing/2014/main" id="{7FB8E594-9EC5-4416-9E81-8BD64F23958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475" y="1457326"/>
                <a:ext cx="55563" cy="55563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8" y="6"/>
                  </a:cxn>
                  <a:cxn ang="0">
                    <a:pos x="3" y="13"/>
                  </a:cxn>
                  <a:cxn ang="0">
                    <a:pos x="0" y="16"/>
                  </a:cxn>
                  <a:cxn ang="0">
                    <a:pos x="1" y="19"/>
                  </a:cxn>
                  <a:cxn ang="0">
                    <a:pos x="3" y="19"/>
                  </a:cxn>
                  <a:cxn ang="0">
                    <a:pos x="4" y="18"/>
                  </a:cxn>
                  <a:cxn ang="0">
                    <a:pos x="6" y="15"/>
                  </a:cxn>
                  <a:cxn ang="0">
                    <a:pos x="11" y="9"/>
                  </a:cxn>
                  <a:cxn ang="0">
                    <a:pos x="18" y="3"/>
                  </a:cxn>
                  <a:cxn ang="0">
                    <a:pos x="18" y="3"/>
                  </a:cxn>
                  <a:cxn ang="0">
                    <a:pos x="18" y="3"/>
                  </a:cxn>
                  <a:cxn ang="0">
                    <a:pos x="18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5" y="0"/>
                  </a:cxn>
                </a:cxnLst>
                <a:rect l="0" t="0" r="r" b="b"/>
                <a:pathLst>
                  <a:path w="19" h="19"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3" y="2"/>
                      <a:pt x="11" y="4"/>
                      <a:pt x="8" y="6"/>
                    </a:cubicBezTo>
                    <a:cubicBezTo>
                      <a:pt x="6" y="8"/>
                      <a:pt x="4" y="10"/>
                      <a:pt x="3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7"/>
                      <a:pt x="0" y="18"/>
                      <a:pt x="1" y="19"/>
                    </a:cubicBezTo>
                    <a:cubicBezTo>
                      <a:pt x="1" y="19"/>
                      <a:pt x="2" y="19"/>
                      <a:pt x="3" y="19"/>
                    </a:cubicBezTo>
                    <a:cubicBezTo>
                      <a:pt x="3" y="19"/>
                      <a:pt x="3" y="18"/>
                      <a:pt x="4" y="18"/>
                    </a:cubicBezTo>
                    <a:cubicBezTo>
                      <a:pt x="6" y="15"/>
                      <a:pt x="6" y="15"/>
                      <a:pt x="6" y="15"/>
                    </a:cubicBezTo>
                    <a:cubicBezTo>
                      <a:pt x="7" y="13"/>
                      <a:pt x="9" y="11"/>
                      <a:pt x="11" y="9"/>
                    </a:cubicBezTo>
                    <a:cubicBezTo>
                      <a:pt x="13" y="7"/>
                      <a:pt x="15" y="5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9" y="2"/>
                      <a:pt x="19" y="1"/>
                      <a:pt x="18" y="0"/>
                    </a:cubicBezTo>
                    <a:cubicBezTo>
                      <a:pt x="17" y="0"/>
                      <a:pt x="16" y="0"/>
                      <a:pt x="15" y="0"/>
                    </a:cubicBezTo>
                    <a:close/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04" name="Freeform 8">
                <a:extLst>
                  <a:ext uri="{FF2B5EF4-FFF2-40B4-BE49-F238E27FC236}">
                    <a16:creationId xmlns:a16="http://schemas.microsoft.com/office/drawing/2014/main" id="{F2CEBF8C-32AC-47B7-9D9E-B033234DCE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0975" y="1263651"/>
                <a:ext cx="55563" cy="58738"/>
              </a:xfrm>
              <a:custGeom>
                <a:avLst/>
                <a:gdLst/>
                <a:ahLst/>
                <a:cxnLst>
                  <a:cxn ang="0">
                    <a:pos x="7" y="11"/>
                  </a:cxn>
                  <a:cxn ang="0">
                    <a:pos x="1" y="16"/>
                  </a:cxn>
                  <a:cxn ang="0">
                    <a:pos x="1" y="17"/>
                  </a:cxn>
                  <a:cxn ang="0">
                    <a:pos x="1" y="19"/>
                  </a:cxn>
                  <a:cxn ang="0">
                    <a:pos x="3" y="19"/>
                  </a:cxn>
                  <a:cxn ang="0">
                    <a:pos x="3" y="19"/>
                  </a:cxn>
                  <a:cxn ang="0">
                    <a:pos x="10" y="13"/>
                  </a:cxn>
                  <a:cxn ang="0">
                    <a:pos x="16" y="7"/>
                  </a:cxn>
                  <a:cxn ang="0">
                    <a:pos x="18" y="3"/>
                  </a:cxn>
                  <a:cxn ang="0">
                    <a:pos x="18" y="1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3" y="5"/>
                  </a:cxn>
                  <a:cxn ang="0">
                    <a:pos x="7" y="11"/>
                  </a:cxn>
                  <a:cxn ang="0">
                    <a:pos x="7" y="11"/>
                  </a:cxn>
                  <a:cxn ang="0">
                    <a:pos x="7" y="11"/>
                  </a:cxn>
                </a:cxnLst>
                <a:rect l="0" t="0" r="r" b="b"/>
                <a:pathLst>
                  <a:path w="19" h="20">
                    <a:moveTo>
                      <a:pt x="7" y="11"/>
                    </a:moveTo>
                    <a:cubicBezTo>
                      <a:pt x="5" y="13"/>
                      <a:pt x="3" y="15"/>
                      <a:pt x="1" y="16"/>
                    </a:cubicBezTo>
                    <a:cubicBezTo>
                      <a:pt x="1" y="16"/>
                      <a:pt x="1" y="16"/>
                      <a:pt x="1" y="17"/>
                    </a:cubicBezTo>
                    <a:cubicBezTo>
                      <a:pt x="0" y="17"/>
                      <a:pt x="0" y="19"/>
                      <a:pt x="1" y="19"/>
                    </a:cubicBezTo>
                    <a:cubicBezTo>
                      <a:pt x="1" y="20"/>
                      <a:pt x="2" y="20"/>
                      <a:pt x="3" y="19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6" y="18"/>
                      <a:pt x="8" y="16"/>
                      <a:pt x="10" y="13"/>
                    </a:cubicBezTo>
                    <a:cubicBezTo>
                      <a:pt x="12" y="11"/>
                      <a:pt x="14" y="9"/>
                      <a:pt x="16" y="7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9" y="3"/>
                      <a:pt x="19" y="1"/>
                      <a:pt x="18" y="1"/>
                    </a:cubicBezTo>
                    <a:cubicBezTo>
                      <a:pt x="17" y="0"/>
                      <a:pt x="16" y="0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3" y="5"/>
                      <a:pt x="13" y="5"/>
                      <a:pt x="13" y="5"/>
                    </a:cubicBezTo>
                    <a:cubicBezTo>
                      <a:pt x="11" y="7"/>
                      <a:pt x="9" y="9"/>
                      <a:pt x="7" y="11"/>
                    </a:cubicBezTo>
                    <a:close/>
                    <a:moveTo>
                      <a:pt x="7" y="11"/>
                    </a:moveTo>
                    <a:cubicBezTo>
                      <a:pt x="7" y="11"/>
                      <a:pt x="7" y="11"/>
                      <a:pt x="7" y="11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  <p:sp>
          <p:nvSpPr>
            <p:cNvPr id="105" name="Freeform 90">
              <a:extLst>
                <a:ext uri="{FF2B5EF4-FFF2-40B4-BE49-F238E27FC236}">
                  <a16:creationId xmlns:a16="http://schemas.microsoft.com/office/drawing/2014/main" id="{644E8609-A287-4756-837A-ABF8EA4B83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46453" y="3192844"/>
              <a:ext cx="401637" cy="401637"/>
            </a:xfrm>
            <a:custGeom>
              <a:avLst/>
              <a:gdLst>
                <a:gd name="T0" fmla="*/ 251431 w 123"/>
                <a:gd name="T1" fmla="*/ 45715 h 123"/>
                <a:gd name="T2" fmla="*/ 166532 w 123"/>
                <a:gd name="T3" fmla="*/ 111022 h 123"/>
                <a:gd name="T4" fmla="*/ 0 w 123"/>
                <a:gd name="T5" fmla="*/ 176328 h 123"/>
                <a:gd name="T6" fmla="*/ 75103 w 123"/>
                <a:gd name="T7" fmla="*/ 261227 h 123"/>
                <a:gd name="T8" fmla="*/ 101226 w 123"/>
                <a:gd name="T9" fmla="*/ 401637 h 123"/>
                <a:gd name="T10" fmla="*/ 176328 w 123"/>
                <a:gd name="T11" fmla="*/ 375514 h 123"/>
                <a:gd name="T12" fmla="*/ 163267 w 123"/>
                <a:gd name="T13" fmla="*/ 336330 h 123"/>
                <a:gd name="T14" fmla="*/ 163267 w 123"/>
                <a:gd name="T15" fmla="*/ 248166 h 123"/>
                <a:gd name="T16" fmla="*/ 166532 w 123"/>
                <a:gd name="T17" fmla="*/ 241635 h 123"/>
                <a:gd name="T18" fmla="*/ 169798 w 123"/>
                <a:gd name="T19" fmla="*/ 238370 h 123"/>
                <a:gd name="T20" fmla="*/ 173063 w 123"/>
                <a:gd name="T21" fmla="*/ 238370 h 123"/>
                <a:gd name="T22" fmla="*/ 251431 w 123"/>
                <a:gd name="T23" fmla="*/ 306942 h 123"/>
                <a:gd name="T24" fmla="*/ 401637 w 123"/>
                <a:gd name="T25" fmla="*/ 176328 h 123"/>
                <a:gd name="T26" fmla="*/ 251431 w 123"/>
                <a:gd name="T27" fmla="*/ 176328 h 123"/>
                <a:gd name="T28" fmla="*/ 287350 w 123"/>
                <a:gd name="T29" fmla="*/ 137144 h 123"/>
                <a:gd name="T30" fmla="*/ 287350 w 123"/>
                <a:gd name="T31" fmla="*/ 212247 h 123"/>
                <a:gd name="T32" fmla="*/ 251431 w 123"/>
                <a:gd name="T33" fmla="*/ 176328 h 123"/>
                <a:gd name="T34" fmla="*/ 48980 w 123"/>
                <a:gd name="T35" fmla="*/ 137144 h 123"/>
                <a:gd name="T36" fmla="*/ 124083 w 123"/>
                <a:gd name="T37" fmla="*/ 176328 h 123"/>
                <a:gd name="T38" fmla="*/ 48980 w 123"/>
                <a:gd name="T39" fmla="*/ 212247 h 123"/>
                <a:gd name="T40" fmla="*/ 150206 w 123"/>
                <a:gd name="T41" fmla="*/ 375514 h 123"/>
                <a:gd name="T42" fmla="*/ 101226 w 123"/>
                <a:gd name="T43" fmla="*/ 261227 h 123"/>
                <a:gd name="T44" fmla="*/ 101226 w 123"/>
                <a:gd name="T45" fmla="*/ 238370 h 123"/>
                <a:gd name="T46" fmla="*/ 140410 w 123"/>
                <a:gd name="T47" fmla="*/ 238370 h 123"/>
                <a:gd name="T48" fmla="*/ 137144 w 123"/>
                <a:gd name="T49" fmla="*/ 336330 h 123"/>
                <a:gd name="T50" fmla="*/ 150206 w 123"/>
                <a:gd name="T51" fmla="*/ 365718 h 123"/>
                <a:gd name="T52" fmla="*/ 166532 w 123"/>
                <a:gd name="T53" fmla="*/ 212247 h 123"/>
                <a:gd name="T54" fmla="*/ 163267 w 123"/>
                <a:gd name="T55" fmla="*/ 212247 h 123"/>
                <a:gd name="T56" fmla="*/ 163267 w 123"/>
                <a:gd name="T57" fmla="*/ 137144 h 123"/>
                <a:gd name="T58" fmla="*/ 231839 w 123"/>
                <a:gd name="T59" fmla="*/ 111022 h 123"/>
                <a:gd name="T60" fmla="*/ 231839 w 123"/>
                <a:gd name="T61" fmla="*/ 238370 h 123"/>
                <a:gd name="T62" fmla="*/ 313473 w 123"/>
                <a:gd name="T63" fmla="*/ 326534 h 123"/>
                <a:gd name="T64" fmla="*/ 287350 w 123"/>
                <a:gd name="T65" fmla="*/ 238370 h 123"/>
                <a:gd name="T66" fmla="*/ 287350 w 123"/>
                <a:gd name="T67" fmla="*/ 111022 h 123"/>
                <a:gd name="T68" fmla="*/ 313473 w 123"/>
                <a:gd name="T69" fmla="*/ 26123 h 123"/>
                <a:gd name="T70" fmla="*/ 313473 w 123"/>
                <a:gd name="T71" fmla="*/ 326534 h 123"/>
                <a:gd name="T72" fmla="*/ 313473 w 123"/>
                <a:gd name="T73" fmla="*/ 326534 h 12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3" h="123">
                  <a:moveTo>
                    <a:pt x="96" y="0"/>
                  </a:moveTo>
                  <a:cubicBezTo>
                    <a:pt x="88" y="0"/>
                    <a:pt x="82" y="5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1" y="26"/>
                    <a:pt x="61" y="34"/>
                    <a:pt x="51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7" y="34"/>
                    <a:pt x="0" y="43"/>
                    <a:pt x="0" y="54"/>
                  </a:cubicBezTo>
                  <a:cubicBezTo>
                    <a:pt x="0" y="64"/>
                    <a:pt x="7" y="73"/>
                    <a:pt x="15" y="73"/>
                  </a:cubicBezTo>
                  <a:cubicBezTo>
                    <a:pt x="20" y="73"/>
                    <a:pt x="23" y="76"/>
                    <a:pt x="23" y="80"/>
                  </a:cubicBezTo>
                  <a:cubicBezTo>
                    <a:pt x="23" y="115"/>
                    <a:pt x="23" y="115"/>
                    <a:pt x="23" y="115"/>
                  </a:cubicBezTo>
                  <a:cubicBezTo>
                    <a:pt x="23" y="119"/>
                    <a:pt x="26" y="123"/>
                    <a:pt x="31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50" y="123"/>
                    <a:pt x="54" y="119"/>
                    <a:pt x="54" y="115"/>
                  </a:cubicBezTo>
                  <a:cubicBezTo>
                    <a:pt x="54" y="111"/>
                    <a:pt x="54" y="111"/>
                    <a:pt x="54" y="111"/>
                  </a:cubicBezTo>
                  <a:cubicBezTo>
                    <a:pt x="54" y="107"/>
                    <a:pt x="50" y="106"/>
                    <a:pt x="50" y="103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0" y="75"/>
                  </a:cubicBezTo>
                  <a:cubicBezTo>
                    <a:pt x="50" y="75"/>
                    <a:pt x="51" y="75"/>
                    <a:pt x="51" y="74"/>
                  </a:cubicBezTo>
                  <a:cubicBezTo>
                    <a:pt x="51" y="74"/>
                    <a:pt x="51" y="74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3" y="73"/>
                    <a:pt x="53" y="73"/>
                  </a:cubicBezTo>
                  <a:cubicBezTo>
                    <a:pt x="63" y="74"/>
                    <a:pt x="71" y="82"/>
                    <a:pt x="77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82" y="102"/>
                    <a:pt x="88" y="107"/>
                    <a:pt x="96" y="107"/>
                  </a:cubicBezTo>
                  <a:cubicBezTo>
                    <a:pt x="114" y="107"/>
                    <a:pt x="123" y="80"/>
                    <a:pt x="123" y="54"/>
                  </a:cubicBezTo>
                  <a:cubicBezTo>
                    <a:pt x="123" y="27"/>
                    <a:pt x="114" y="0"/>
                    <a:pt x="96" y="0"/>
                  </a:cubicBezTo>
                  <a:close/>
                  <a:moveTo>
                    <a:pt x="77" y="54"/>
                  </a:moveTo>
                  <a:cubicBezTo>
                    <a:pt x="77" y="50"/>
                    <a:pt x="77" y="46"/>
                    <a:pt x="77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92" y="42"/>
                    <a:pt x="96" y="47"/>
                    <a:pt x="96" y="54"/>
                  </a:cubicBezTo>
                  <a:cubicBezTo>
                    <a:pt x="96" y="60"/>
                    <a:pt x="92" y="65"/>
                    <a:pt x="88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7" y="61"/>
                    <a:pt x="77" y="58"/>
                    <a:pt x="77" y="54"/>
                  </a:cubicBezTo>
                  <a:close/>
                  <a:moveTo>
                    <a:pt x="8" y="54"/>
                  </a:moveTo>
                  <a:cubicBezTo>
                    <a:pt x="8" y="47"/>
                    <a:pt x="11" y="42"/>
                    <a:pt x="15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5"/>
                    <a:pt x="38" y="49"/>
                    <a:pt x="38" y="54"/>
                  </a:cubicBezTo>
                  <a:cubicBezTo>
                    <a:pt x="38" y="58"/>
                    <a:pt x="40" y="62"/>
                    <a:pt x="42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1" y="65"/>
                    <a:pt x="8" y="60"/>
                    <a:pt x="8" y="54"/>
                  </a:cubicBezTo>
                  <a:close/>
                  <a:moveTo>
                    <a:pt x="46" y="115"/>
                  </a:moveTo>
                  <a:cubicBezTo>
                    <a:pt x="31" y="115"/>
                    <a:pt x="31" y="115"/>
                    <a:pt x="31" y="115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1" y="78"/>
                    <a:pt x="30" y="75"/>
                    <a:pt x="29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2" y="74"/>
                    <a:pt x="42" y="75"/>
                    <a:pt x="42" y="77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7"/>
                    <a:pt x="44" y="110"/>
                    <a:pt x="46" y="111"/>
                  </a:cubicBezTo>
                  <a:cubicBezTo>
                    <a:pt x="46" y="111"/>
                    <a:pt x="46" y="111"/>
                    <a:pt x="46" y="112"/>
                  </a:cubicBezTo>
                  <a:lnTo>
                    <a:pt x="46" y="115"/>
                  </a:lnTo>
                  <a:close/>
                  <a:moveTo>
                    <a:pt x="51" y="65"/>
                  </a:move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6" y="65"/>
                    <a:pt x="42" y="60"/>
                    <a:pt x="42" y="54"/>
                  </a:cubicBezTo>
                  <a:cubicBezTo>
                    <a:pt x="42" y="47"/>
                    <a:pt x="46" y="42"/>
                    <a:pt x="50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8" y="42"/>
                    <a:pt x="65" y="39"/>
                    <a:pt x="71" y="34"/>
                  </a:cubicBezTo>
                  <a:cubicBezTo>
                    <a:pt x="70" y="40"/>
                    <a:pt x="69" y="47"/>
                    <a:pt x="69" y="54"/>
                  </a:cubicBezTo>
                  <a:cubicBezTo>
                    <a:pt x="69" y="60"/>
                    <a:pt x="70" y="67"/>
                    <a:pt x="71" y="73"/>
                  </a:cubicBezTo>
                  <a:cubicBezTo>
                    <a:pt x="65" y="68"/>
                    <a:pt x="58" y="65"/>
                    <a:pt x="51" y="65"/>
                  </a:cubicBezTo>
                  <a:close/>
                  <a:moveTo>
                    <a:pt x="96" y="100"/>
                  </a:moveTo>
                  <a:cubicBezTo>
                    <a:pt x="88" y="100"/>
                    <a:pt x="82" y="89"/>
                    <a:pt x="79" y="73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97" y="73"/>
                    <a:pt x="104" y="64"/>
                    <a:pt x="104" y="54"/>
                  </a:cubicBezTo>
                  <a:cubicBezTo>
                    <a:pt x="104" y="43"/>
                    <a:pt x="97" y="34"/>
                    <a:pt x="88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82" y="19"/>
                    <a:pt x="88" y="8"/>
                    <a:pt x="96" y="8"/>
                  </a:cubicBezTo>
                  <a:cubicBezTo>
                    <a:pt x="107" y="8"/>
                    <a:pt x="115" y="28"/>
                    <a:pt x="115" y="54"/>
                  </a:cubicBezTo>
                  <a:cubicBezTo>
                    <a:pt x="115" y="79"/>
                    <a:pt x="107" y="100"/>
                    <a:pt x="96" y="100"/>
                  </a:cubicBezTo>
                  <a:close/>
                  <a:moveTo>
                    <a:pt x="96" y="100"/>
                  </a:moveTo>
                  <a:cubicBezTo>
                    <a:pt x="96" y="100"/>
                    <a:pt x="96" y="100"/>
                    <a:pt x="96" y="10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  <p:grpSp>
          <p:nvGrpSpPr>
            <p:cNvPr id="106" name="Group 170">
              <a:extLst>
                <a:ext uri="{FF2B5EF4-FFF2-40B4-BE49-F238E27FC236}">
                  <a16:creationId xmlns:a16="http://schemas.microsoft.com/office/drawing/2014/main" id="{857F7D04-D411-466D-B6F3-0CF5642435F6}"/>
                </a:ext>
              </a:extLst>
            </p:cNvPr>
            <p:cNvGrpSpPr/>
            <p:nvPr/>
          </p:nvGrpSpPr>
          <p:grpSpPr>
            <a:xfrm>
              <a:off x="5451199" y="3586326"/>
              <a:ext cx="399697" cy="401466"/>
              <a:chOff x="4019550" y="3568701"/>
              <a:chExt cx="358775" cy="360363"/>
            </a:xfrm>
            <a:solidFill>
              <a:srgbClr val="FFFFFF"/>
            </a:solidFill>
          </p:grpSpPr>
          <p:sp>
            <p:nvSpPr>
              <p:cNvPr id="107" name="Freeform 105">
                <a:extLst>
                  <a:ext uri="{FF2B5EF4-FFF2-40B4-BE49-F238E27FC236}">
                    <a16:creationId xmlns:a16="http://schemas.microsoft.com/office/drawing/2014/main" id="{6F4CCAA2-F5B2-407D-8733-AC44CFDF99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3568701"/>
                <a:ext cx="358775" cy="360363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31" y="46"/>
                  </a:cxn>
                  <a:cxn ang="0">
                    <a:pos x="36" y="68"/>
                  </a:cxn>
                  <a:cxn ang="0">
                    <a:pos x="4" y="100"/>
                  </a:cxn>
                  <a:cxn ang="0">
                    <a:pos x="4" y="100"/>
                  </a:cxn>
                  <a:cxn ang="0">
                    <a:pos x="0" y="109"/>
                  </a:cxn>
                  <a:cxn ang="0">
                    <a:pos x="13" y="123"/>
                  </a:cxn>
                  <a:cxn ang="0">
                    <a:pos x="23" y="119"/>
                  </a:cxn>
                  <a:cxn ang="0">
                    <a:pos x="23" y="119"/>
                  </a:cxn>
                  <a:cxn ang="0">
                    <a:pos x="55" y="87"/>
                  </a:cxn>
                  <a:cxn ang="0">
                    <a:pos x="77" y="92"/>
                  </a:cxn>
                  <a:cxn ang="0">
                    <a:pos x="123" y="46"/>
                  </a:cxn>
                  <a:cxn ang="0">
                    <a:pos x="77" y="0"/>
                  </a:cxn>
                  <a:cxn ang="0">
                    <a:pos x="18" y="114"/>
                  </a:cxn>
                  <a:cxn ang="0">
                    <a:pos x="13" y="116"/>
                  </a:cxn>
                  <a:cxn ang="0">
                    <a:pos x="7" y="109"/>
                  </a:cxn>
                  <a:cxn ang="0">
                    <a:pos x="9" y="104"/>
                  </a:cxn>
                  <a:cxn ang="0">
                    <a:pos x="9" y="104"/>
                  </a:cxn>
                  <a:cxn ang="0">
                    <a:pos x="40" y="73"/>
                  </a:cxn>
                  <a:cxn ang="0">
                    <a:pos x="49" y="83"/>
                  </a:cxn>
                  <a:cxn ang="0">
                    <a:pos x="18" y="114"/>
                  </a:cxn>
                  <a:cxn ang="0">
                    <a:pos x="77" y="84"/>
                  </a:cxn>
                  <a:cxn ang="0">
                    <a:pos x="38" y="46"/>
                  </a:cxn>
                  <a:cxn ang="0">
                    <a:pos x="77" y="8"/>
                  </a:cxn>
                  <a:cxn ang="0">
                    <a:pos x="115" y="46"/>
                  </a:cxn>
                  <a:cxn ang="0">
                    <a:pos x="77" y="84"/>
                  </a:cxn>
                  <a:cxn ang="0">
                    <a:pos x="77" y="84"/>
                  </a:cxn>
                  <a:cxn ang="0">
                    <a:pos x="77" y="84"/>
                  </a:cxn>
                </a:cxnLst>
                <a:rect l="0" t="0" r="r" b="b"/>
                <a:pathLst>
                  <a:path w="123" h="123">
                    <a:moveTo>
                      <a:pt x="77" y="0"/>
                    </a:moveTo>
                    <a:cubicBezTo>
                      <a:pt x="51" y="0"/>
                      <a:pt x="31" y="21"/>
                      <a:pt x="31" y="46"/>
                    </a:cubicBezTo>
                    <a:cubicBezTo>
                      <a:pt x="31" y="54"/>
                      <a:pt x="33" y="61"/>
                      <a:pt x="36" y="68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4" y="100"/>
                      <a:pt x="4" y="100"/>
                      <a:pt x="4" y="100"/>
                    </a:cubicBezTo>
                    <a:cubicBezTo>
                      <a:pt x="2" y="102"/>
                      <a:pt x="0" y="105"/>
                      <a:pt x="0" y="109"/>
                    </a:cubicBezTo>
                    <a:cubicBezTo>
                      <a:pt x="0" y="117"/>
                      <a:pt x="6" y="123"/>
                      <a:pt x="13" y="123"/>
                    </a:cubicBezTo>
                    <a:cubicBezTo>
                      <a:pt x="17" y="123"/>
                      <a:pt x="21" y="121"/>
                      <a:pt x="23" y="119"/>
                    </a:cubicBezTo>
                    <a:cubicBezTo>
                      <a:pt x="23" y="119"/>
                      <a:pt x="23" y="119"/>
                      <a:pt x="23" y="119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62" y="90"/>
                      <a:pt x="69" y="92"/>
                      <a:pt x="77" y="92"/>
                    </a:cubicBezTo>
                    <a:cubicBezTo>
                      <a:pt x="102" y="92"/>
                      <a:pt x="123" y="71"/>
                      <a:pt x="123" y="46"/>
                    </a:cubicBezTo>
                    <a:cubicBezTo>
                      <a:pt x="123" y="21"/>
                      <a:pt x="102" y="0"/>
                      <a:pt x="77" y="0"/>
                    </a:cubicBezTo>
                    <a:close/>
                    <a:moveTo>
                      <a:pt x="18" y="114"/>
                    </a:moveTo>
                    <a:cubicBezTo>
                      <a:pt x="17" y="115"/>
                      <a:pt x="15" y="116"/>
                      <a:pt x="13" y="116"/>
                    </a:cubicBezTo>
                    <a:cubicBezTo>
                      <a:pt x="10" y="116"/>
                      <a:pt x="7" y="113"/>
                      <a:pt x="7" y="109"/>
                    </a:cubicBezTo>
                    <a:cubicBezTo>
                      <a:pt x="7" y="107"/>
                      <a:pt x="8" y="106"/>
                      <a:pt x="9" y="104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40" y="73"/>
                      <a:pt x="40" y="73"/>
                      <a:pt x="40" y="73"/>
                    </a:cubicBezTo>
                    <a:cubicBezTo>
                      <a:pt x="42" y="77"/>
                      <a:pt x="46" y="80"/>
                      <a:pt x="49" y="83"/>
                    </a:cubicBezTo>
                    <a:lnTo>
                      <a:pt x="18" y="114"/>
                    </a:lnTo>
                    <a:close/>
                    <a:moveTo>
                      <a:pt x="77" y="84"/>
                    </a:moveTo>
                    <a:cubicBezTo>
                      <a:pt x="55" y="84"/>
                      <a:pt x="38" y="67"/>
                      <a:pt x="38" y="46"/>
                    </a:cubicBezTo>
                    <a:cubicBezTo>
                      <a:pt x="38" y="25"/>
                      <a:pt x="55" y="8"/>
                      <a:pt x="77" y="8"/>
                    </a:cubicBezTo>
                    <a:cubicBezTo>
                      <a:pt x="98" y="8"/>
                      <a:pt x="115" y="25"/>
                      <a:pt x="115" y="46"/>
                    </a:cubicBezTo>
                    <a:cubicBezTo>
                      <a:pt x="115" y="67"/>
                      <a:pt x="98" y="84"/>
                      <a:pt x="77" y="84"/>
                    </a:cubicBezTo>
                    <a:close/>
                    <a:moveTo>
                      <a:pt x="77" y="84"/>
                    </a:moveTo>
                    <a:cubicBezTo>
                      <a:pt x="77" y="84"/>
                      <a:pt x="77" y="84"/>
                      <a:pt x="77" y="8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08" name="Freeform 106">
                <a:extLst>
                  <a:ext uri="{FF2B5EF4-FFF2-40B4-BE49-F238E27FC236}">
                    <a16:creationId xmlns:a16="http://schemas.microsoft.com/office/drawing/2014/main" id="{F480100F-0BA1-48B9-A390-B3F4FEBE11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65600" y="3624263"/>
                <a:ext cx="84138" cy="85725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0" y="27"/>
                  </a:cxn>
                  <a:cxn ang="0">
                    <a:pos x="2" y="29"/>
                  </a:cxn>
                  <a:cxn ang="0">
                    <a:pos x="4" y="27"/>
                  </a:cxn>
                  <a:cxn ang="0">
                    <a:pos x="27" y="4"/>
                  </a:cxn>
                  <a:cxn ang="0">
                    <a:pos x="29" y="2"/>
                  </a:cxn>
                  <a:cxn ang="0">
                    <a:pos x="27" y="0"/>
                  </a:cxn>
                  <a:cxn ang="0">
                    <a:pos x="27" y="0"/>
                  </a:cxn>
                  <a:cxn ang="0">
                    <a:pos x="27" y="0"/>
                  </a:cxn>
                </a:cxnLst>
                <a:rect l="0" t="0" r="r" b="b"/>
                <a:pathLst>
                  <a:path w="29" h="29">
                    <a:moveTo>
                      <a:pt x="27" y="0"/>
                    </a:moveTo>
                    <a:cubicBezTo>
                      <a:pt x="12" y="0"/>
                      <a:pt x="0" y="12"/>
                      <a:pt x="0" y="27"/>
                    </a:cubicBezTo>
                    <a:cubicBezTo>
                      <a:pt x="0" y="28"/>
                      <a:pt x="1" y="29"/>
                      <a:pt x="2" y="29"/>
                    </a:cubicBezTo>
                    <a:cubicBezTo>
                      <a:pt x="3" y="29"/>
                      <a:pt x="4" y="28"/>
                      <a:pt x="4" y="27"/>
                    </a:cubicBezTo>
                    <a:cubicBezTo>
                      <a:pt x="4" y="14"/>
                      <a:pt x="14" y="4"/>
                      <a:pt x="27" y="4"/>
                    </a:cubicBezTo>
                    <a:cubicBezTo>
                      <a:pt x="28" y="4"/>
                      <a:pt x="29" y="3"/>
                      <a:pt x="29" y="2"/>
                    </a:cubicBezTo>
                    <a:cubicBezTo>
                      <a:pt x="29" y="1"/>
                      <a:pt x="28" y="0"/>
                      <a:pt x="27" y="0"/>
                    </a:cubicBezTo>
                    <a:close/>
                    <a:moveTo>
                      <a:pt x="27" y="0"/>
                    </a:moveTo>
                    <a:cubicBezTo>
                      <a:pt x="27" y="0"/>
                      <a:pt x="27" y="0"/>
                      <a:pt x="2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  <p:grpSp>
          <p:nvGrpSpPr>
            <p:cNvPr id="109" name="Group 182">
              <a:extLst>
                <a:ext uri="{FF2B5EF4-FFF2-40B4-BE49-F238E27FC236}">
                  <a16:creationId xmlns:a16="http://schemas.microsoft.com/office/drawing/2014/main" id="{1B57AF45-0CA1-4814-92F7-5513679DFCC7}"/>
                </a:ext>
              </a:extLst>
            </p:cNvPr>
            <p:cNvGrpSpPr/>
            <p:nvPr/>
          </p:nvGrpSpPr>
          <p:grpSpPr>
            <a:xfrm>
              <a:off x="2979038" y="4213713"/>
              <a:ext cx="397929" cy="247600"/>
              <a:chOff x="7145338" y="3636963"/>
              <a:chExt cx="357188" cy="222250"/>
            </a:xfrm>
            <a:solidFill>
              <a:srgbClr val="FFFFFF"/>
            </a:solidFill>
          </p:grpSpPr>
          <p:sp>
            <p:nvSpPr>
              <p:cNvPr id="110" name="Freeform 145">
                <a:extLst>
                  <a:ext uri="{FF2B5EF4-FFF2-40B4-BE49-F238E27FC236}">
                    <a16:creationId xmlns:a16="http://schemas.microsoft.com/office/drawing/2014/main" id="{38D91F28-D0D5-4A45-B8F6-856B3CB9FB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45338" y="3636963"/>
                <a:ext cx="357188" cy="222250"/>
              </a:xfrm>
              <a:custGeom>
                <a:avLst/>
                <a:gdLst/>
                <a:ahLst/>
                <a:cxnLst>
                  <a:cxn ang="0">
                    <a:pos x="122" y="37"/>
                  </a:cxn>
                  <a:cxn ang="0">
                    <a:pos x="122" y="37"/>
                  </a:cxn>
                  <a:cxn ang="0">
                    <a:pos x="122" y="36"/>
                  </a:cxn>
                  <a:cxn ang="0">
                    <a:pos x="122" y="36"/>
                  </a:cxn>
                  <a:cxn ang="0">
                    <a:pos x="61" y="0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0" y="37"/>
                  </a:cxn>
                  <a:cxn ang="0">
                    <a:pos x="0" y="37"/>
                  </a:cxn>
                  <a:cxn ang="0">
                    <a:pos x="0" y="38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0" y="39"/>
                  </a:cxn>
                  <a:cxn ang="0">
                    <a:pos x="0" y="40"/>
                  </a:cxn>
                  <a:cxn ang="0">
                    <a:pos x="61" y="76"/>
                  </a:cxn>
                  <a:cxn ang="0">
                    <a:pos x="122" y="40"/>
                  </a:cxn>
                  <a:cxn ang="0">
                    <a:pos x="122" y="39"/>
                  </a:cxn>
                  <a:cxn ang="0">
                    <a:pos x="122" y="39"/>
                  </a:cxn>
                  <a:cxn ang="0">
                    <a:pos x="122" y="39"/>
                  </a:cxn>
                  <a:cxn ang="0">
                    <a:pos x="122" y="38"/>
                  </a:cxn>
                  <a:cxn ang="0">
                    <a:pos x="122" y="37"/>
                  </a:cxn>
                  <a:cxn ang="0">
                    <a:pos x="61" y="69"/>
                  </a:cxn>
                  <a:cxn ang="0">
                    <a:pos x="8" y="38"/>
                  </a:cxn>
                  <a:cxn ang="0">
                    <a:pos x="61" y="7"/>
                  </a:cxn>
                  <a:cxn ang="0">
                    <a:pos x="114" y="38"/>
                  </a:cxn>
                  <a:cxn ang="0">
                    <a:pos x="61" y="69"/>
                  </a:cxn>
                  <a:cxn ang="0">
                    <a:pos x="61" y="69"/>
                  </a:cxn>
                  <a:cxn ang="0">
                    <a:pos x="61" y="69"/>
                  </a:cxn>
                </a:cxnLst>
                <a:rect l="0" t="0" r="r" b="b"/>
                <a:pathLst>
                  <a:path w="122" h="76">
                    <a:moveTo>
                      <a:pt x="122" y="37"/>
                    </a:moveTo>
                    <a:cubicBezTo>
                      <a:pt x="122" y="37"/>
                      <a:pt x="122" y="37"/>
                      <a:pt x="122" y="37"/>
                    </a:cubicBezTo>
                    <a:cubicBezTo>
                      <a:pt x="122" y="37"/>
                      <a:pt x="122" y="37"/>
                      <a:pt x="122" y="36"/>
                    </a:cubicBezTo>
                    <a:cubicBezTo>
                      <a:pt x="122" y="36"/>
                      <a:pt x="122" y="36"/>
                      <a:pt x="122" y="36"/>
                    </a:cubicBezTo>
                    <a:cubicBezTo>
                      <a:pt x="111" y="15"/>
                      <a:pt x="86" y="0"/>
                      <a:pt x="61" y="0"/>
                    </a:cubicBezTo>
                    <a:cubicBezTo>
                      <a:pt x="35" y="0"/>
                      <a:pt x="11" y="15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7"/>
                      <a:pt x="0" y="37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0" y="38"/>
                      <a:pt x="0" y="38"/>
                    </a:cubicBezTo>
                    <a:cubicBezTo>
                      <a:pt x="0" y="38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11" y="61"/>
                      <a:pt x="35" y="76"/>
                      <a:pt x="61" y="76"/>
                    </a:cubicBezTo>
                    <a:cubicBezTo>
                      <a:pt x="86" y="76"/>
                      <a:pt x="111" y="61"/>
                      <a:pt x="122" y="40"/>
                    </a:cubicBezTo>
                    <a:cubicBezTo>
                      <a:pt x="122" y="40"/>
                      <a:pt x="122" y="40"/>
                      <a:pt x="122" y="39"/>
                    </a:cubicBezTo>
                    <a:cubicBezTo>
                      <a:pt x="122" y="39"/>
                      <a:pt x="122" y="39"/>
                      <a:pt x="122" y="39"/>
                    </a:cubicBezTo>
                    <a:cubicBezTo>
                      <a:pt x="122" y="39"/>
                      <a:pt x="122" y="39"/>
                      <a:pt x="122" y="39"/>
                    </a:cubicBezTo>
                    <a:cubicBezTo>
                      <a:pt x="122" y="39"/>
                      <a:pt x="122" y="38"/>
                      <a:pt x="122" y="38"/>
                    </a:cubicBezTo>
                    <a:cubicBezTo>
                      <a:pt x="122" y="38"/>
                      <a:pt x="122" y="37"/>
                      <a:pt x="122" y="37"/>
                    </a:cubicBezTo>
                    <a:close/>
                    <a:moveTo>
                      <a:pt x="61" y="69"/>
                    </a:moveTo>
                    <a:cubicBezTo>
                      <a:pt x="39" y="69"/>
                      <a:pt x="18" y="56"/>
                      <a:pt x="8" y="38"/>
                    </a:cubicBezTo>
                    <a:cubicBezTo>
                      <a:pt x="18" y="20"/>
                      <a:pt x="39" y="7"/>
                      <a:pt x="61" y="7"/>
                    </a:cubicBezTo>
                    <a:cubicBezTo>
                      <a:pt x="82" y="7"/>
                      <a:pt x="104" y="20"/>
                      <a:pt x="114" y="38"/>
                    </a:cubicBezTo>
                    <a:cubicBezTo>
                      <a:pt x="103" y="56"/>
                      <a:pt x="82" y="69"/>
                      <a:pt x="61" y="69"/>
                    </a:cubicBezTo>
                    <a:close/>
                    <a:moveTo>
                      <a:pt x="61" y="69"/>
                    </a:moveTo>
                    <a:cubicBezTo>
                      <a:pt x="61" y="69"/>
                      <a:pt x="61" y="69"/>
                      <a:pt x="61" y="6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11" name="Freeform 146">
                <a:extLst>
                  <a:ext uri="{FF2B5EF4-FFF2-40B4-BE49-F238E27FC236}">
                    <a16:creationId xmlns:a16="http://schemas.microsoft.com/office/drawing/2014/main" id="{1257DED0-87AF-4F34-9F68-FDA0B9B3A3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80275" y="3703638"/>
                <a:ext cx="50800" cy="5080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0" y="15"/>
                  </a:cxn>
                  <a:cxn ang="0">
                    <a:pos x="1" y="17"/>
                  </a:cxn>
                  <a:cxn ang="0">
                    <a:pos x="3" y="15"/>
                  </a:cxn>
                  <a:cxn ang="0">
                    <a:pos x="15" y="3"/>
                  </a:cxn>
                  <a:cxn ang="0">
                    <a:pos x="15" y="3"/>
                  </a:cxn>
                  <a:cxn ang="0">
                    <a:pos x="17" y="2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15" y="0"/>
                  </a:cxn>
                </a:cxnLst>
                <a:rect l="0" t="0" r="r" b="b"/>
                <a:pathLst>
                  <a:path w="17" h="17"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7"/>
                      <a:pt x="0" y="15"/>
                    </a:cubicBezTo>
                    <a:cubicBezTo>
                      <a:pt x="0" y="16"/>
                      <a:pt x="0" y="17"/>
                      <a:pt x="1" y="17"/>
                    </a:cubicBezTo>
                    <a:cubicBezTo>
                      <a:pt x="3" y="17"/>
                      <a:pt x="3" y="16"/>
                      <a:pt x="3" y="15"/>
                    </a:cubicBezTo>
                    <a:cubicBezTo>
                      <a:pt x="3" y="9"/>
                      <a:pt x="9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6" y="3"/>
                      <a:pt x="17" y="3"/>
                      <a:pt x="17" y="2"/>
                    </a:cubicBezTo>
                    <a:cubicBezTo>
                      <a:pt x="17" y="0"/>
                      <a:pt x="16" y="0"/>
                      <a:pt x="15" y="0"/>
                    </a:cubicBezTo>
                    <a:close/>
                    <a:moveTo>
                      <a:pt x="15" y="0"/>
                    </a:moveTo>
                    <a:cubicBezTo>
                      <a:pt x="15" y="0"/>
                      <a:pt x="15" y="0"/>
                      <a:pt x="15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  <p:sp>
            <p:nvSpPr>
              <p:cNvPr id="112" name="Freeform 147">
                <a:extLst>
                  <a:ext uri="{FF2B5EF4-FFF2-40B4-BE49-F238E27FC236}">
                    <a16:creationId xmlns:a16="http://schemas.microsoft.com/office/drawing/2014/main" id="{75F61230-F59D-4430-889F-F2FED92D04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45350" y="3668713"/>
                <a:ext cx="158750" cy="158750"/>
              </a:xfrm>
              <a:custGeom>
                <a:avLst/>
                <a:gdLst/>
                <a:ahLst/>
                <a:cxnLst>
                  <a:cxn ang="0">
                    <a:pos x="27" y="0"/>
                  </a:cxn>
                  <a:cxn ang="0">
                    <a:pos x="0" y="27"/>
                  </a:cxn>
                  <a:cxn ang="0">
                    <a:pos x="27" y="54"/>
                  </a:cxn>
                  <a:cxn ang="0">
                    <a:pos x="54" y="27"/>
                  </a:cxn>
                  <a:cxn ang="0">
                    <a:pos x="27" y="0"/>
                  </a:cxn>
                  <a:cxn ang="0">
                    <a:pos x="27" y="50"/>
                  </a:cxn>
                  <a:cxn ang="0">
                    <a:pos x="4" y="27"/>
                  </a:cxn>
                  <a:cxn ang="0">
                    <a:pos x="27" y="4"/>
                  </a:cxn>
                  <a:cxn ang="0">
                    <a:pos x="50" y="27"/>
                  </a:cxn>
                  <a:cxn ang="0">
                    <a:pos x="27" y="50"/>
                  </a:cxn>
                  <a:cxn ang="0">
                    <a:pos x="27" y="50"/>
                  </a:cxn>
                  <a:cxn ang="0">
                    <a:pos x="27" y="50"/>
                  </a:cxn>
                </a:cxnLst>
                <a:rect l="0" t="0" r="r" b="b"/>
                <a:pathLst>
                  <a:path w="54" h="54">
                    <a:moveTo>
                      <a:pt x="27" y="0"/>
                    </a:moveTo>
                    <a:cubicBezTo>
                      <a:pt x="12" y="0"/>
                      <a:pt x="0" y="12"/>
                      <a:pt x="0" y="27"/>
                    </a:cubicBezTo>
                    <a:cubicBezTo>
                      <a:pt x="0" y="42"/>
                      <a:pt x="12" y="54"/>
                      <a:pt x="27" y="54"/>
                    </a:cubicBezTo>
                    <a:cubicBezTo>
                      <a:pt x="42" y="54"/>
                      <a:pt x="54" y="42"/>
                      <a:pt x="54" y="27"/>
                    </a:cubicBezTo>
                    <a:cubicBezTo>
                      <a:pt x="54" y="12"/>
                      <a:pt x="42" y="0"/>
                      <a:pt x="27" y="0"/>
                    </a:cubicBezTo>
                    <a:close/>
                    <a:moveTo>
                      <a:pt x="27" y="50"/>
                    </a:moveTo>
                    <a:cubicBezTo>
                      <a:pt x="14" y="50"/>
                      <a:pt x="4" y="40"/>
                      <a:pt x="4" y="27"/>
                    </a:cubicBezTo>
                    <a:cubicBezTo>
                      <a:pt x="4" y="14"/>
                      <a:pt x="14" y="4"/>
                      <a:pt x="27" y="4"/>
                    </a:cubicBezTo>
                    <a:cubicBezTo>
                      <a:pt x="40" y="4"/>
                      <a:pt x="50" y="14"/>
                      <a:pt x="50" y="27"/>
                    </a:cubicBezTo>
                    <a:cubicBezTo>
                      <a:pt x="50" y="40"/>
                      <a:pt x="40" y="50"/>
                      <a:pt x="27" y="50"/>
                    </a:cubicBezTo>
                    <a:close/>
                    <a:moveTo>
                      <a:pt x="27" y="50"/>
                    </a:moveTo>
                    <a:cubicBezTo>
                      <a:pt x="27" y="50"/>
                      <a:pt x="27" y="50"/>
                      <a:pt x="27" y="5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ea typeface="+mn-e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015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J42F4v3kiOlv_Y5TgM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 16:9 2015 HU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chemeClr val="tx1"/>
          </a:buClr>
          <a:buSzPct val="75000"/>
          <a:defRPr sz="1800" dirty="0" err="1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zu9_Chartpool_20150608.pptx" id="{B1452720-7520-4D9E-B9ED-20AEF7CACA91}" vid="{0A44F166-3C81-41C7-882D-66DB7ABEEA43}"/>
    </a:ext>
  </a:extLst>
</a:theme>
</file>

<file path=ppt/theme/theme2.xml><?xml version="1.0" encoding="utf-8"?>
<a:theme xmlns:a="http://schemas.openxmlformats.org/drawingml/2006/main" name="Divider_slides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HU_20160104" id="{E82E8D14-4446-4A52-83D1-A8C12EE87144}" vid="{A43C1F09-723B-4203-B084-2BE0D287B474}"/>
    </a:ext>
  </a:extLst>
</a:theme>
</file>

<file path=ppt/theme/theme3.xml><?xml version="1.0" encoding="utf-8"?>
<a:theme xmlns:a="http://schemas.openxmlformats.org/drawingml/2006/main" name="1_Divider_slides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HU_20160104" id="{E82E8D14-4446-4A52-83D1-A8C12EE87144}" vid="{A43C1F09-723B-4203-B084-2BE0D287B474}"/>
    </a:ext>
  </a:extLst>
</a:theme>
</file>

<file path=ppt/theme/theme4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5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0">
    <wetp:webextensionref xmlns:r="http://schemas.openxmlformats.org/officeDocument/2006/relationships" r:id="rId1"/>
  </wetp:taskpane>
  <wetp:taskpane dockstate="right" visibility="0" width="700" row="0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0733B20A-85B3-CC4A-B977-EF4AC34A487B}">
  <we:reference id="wa104380506" version="1.1.0.0" store="hu-HU" storeType="OMEX"/>
  <we:alternateReferences>
    <we:reference id="WA104380506" version="1.1.0.0" store="WA104380506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45E27BAD-928C-884E-86ED-6A2513A086ED}">
  <we:reference id="wa104379279" version="2.0.0.0" store="hu-HU" storeType="OMEX"/>
  <we:alternateReferences>
    <we:reference id="WA104379279" version="2.0.0.0" store="WA10437927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88D6A055AABAC848A0F9F96FD239AB8D" ma:contentTypeVersion="" ma:contentTypeDescription="Új dokumentum létrehozása." ma:contentTypeScope="" ma:versionID="56cffccc7805282da5ae8e67e6a0334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db485cf445407918673187eed66b36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48FD3A-FB7E-404A-8DD0-25385F7BF4E6}">
  <ds:schemaRefs>
    <ds:schemaRef ds:uri="http://purl.org/dc/elements/1.1/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0B78F12-7E28-432D-BFD7-DF7ACA09F6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CC4969-6E3C-4BCE-87C5-A34FB2C1DAA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HU_20150828</Template>
  <TotalTime>33999</TotalTime>
  <Words>393</Words>
  <Application>Microsoft Office PowerPoint</Application>
  <PresentationFormat>Egyéni</PresentationFormat>
  <Paragraphs>87</Paragraphs>
  <Slides>12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4</vt:i4>
      </vt:variant>
      <vt:variant>
        <vt:lpstr>Téma</vt:lpstr>
      </vt:variant>
      <vt:variant>
        <vt:i4>4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2</vt:i4>
      </vt:variant>
    </vt:vector>
  </HeadingPairs>
  <TitlesOfParts>
    <vt:vector size="32" baseType="lpstr">
      <vt:lpstr>Tele-GroteskNor</vt:lpstr>
      <vt:lpstr>Wingdings 2</vt:lpstr>
      <vt:lpstr>Open Sans Light</vt:lpstr>
      <vt:lpstr>TeleGrotesk Headline</vt:lpstr>
      <vt:lpstr>TeleGrotesk Headline Ultra</vt:lpstr>
      <vt:lpstr>MS PGothic</vt:lpstr>
      <vt:lpstr>Lato Regular</vt:lpstr>
      <vt:lpstr>Gill Sans</vt:lpstr>
      <vt:lpstr>Arial Unicode MS</vt:lpstr>
      <vt:lpstr>Tele-GroteskUlt</vt:lpstr>
      <vt:lpstr>Lato Light</vt:lpstr>
      <vt:lpstr>Arial</vt:lpstr>
      <vt:lpstr>Wingdings</vt:lpstr>
      <vt:lpstr>Tele-GroteskFet</vt:lpstr>
      <vt:lpstr>Telekom 16:9 2015 HU</vt:lpstr>
      <vt:lpstr>Divider_slides</vt:lpstr>
      <vt:lpstr>1_Divider_slides</vt:lpstr>
      <vt:lpstr>Telekom 16:9 2016 EN</vt:lpstr>
      <vt:lpstr>think-cell Folie</vt:lpstr>
      <vt:lpstr>think-cell Slide</vt:lpstr>
      <vt:lpstr>biztonsági tesztelés  A közösségi élmény</vt:lpstr>
      <vt:lpstr>PowerPoint-bemutató</vt:lpstr>
      <vt:lpstr>PowerPoint-bemutató</vt:lpstr>
      <vt:lpstr>Penteszt</vt:lpstr>
      <vt:lpstr>Bug bounty</vt:lpstr>
      <vt:lpstr>Az alapok</vt:lpstr>
      <vt:lpstr>Amit nem fogadunk</vt:lpstr>
      <vt:lpstr>Ami érdekes</vt:lpstr>
      <vt:lpstr>folyamat kell</vt:lpstr>
      <vt:lpstr>Mire figyeljünk</vt:lpstr>
      <vt:lpstr>PowerPoint-bemutató</vt:lpstr>
      <vt:lpstr>PowerPoint-bemutat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16:9</dc:title>
  <dc:creator>Hári Krisztián</dc:creator>
  <cp:lastModifiedBy>Hári Krisztián</cp:lastModifiedBy>
  <cp:revision>413</cp:revision>
  <cp:lastPrinted>2018-04-25T08:18:43Z</cp:lastPrinted>
  <dcterms:created xsi:type="dcterms:W3CDTF">2016-09-24T10:07:29Z</dcterms:created>
  <dcterms:modified xsi:type="dcterms:W3CDTF">2018-04-25T10:5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D6A055AABAC848A0F9F96FD239AB8D</vt:lpwstr>
  </property>
</Properties>
</file>